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gs/tag189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178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41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30.xml" ContentType="application/vnd.openxmlformats-officedocument.presentationml.tags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Default Extension="emf" ContentType="image/x-emf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tags/tag186.xml" ContentType="application/vnd.openxmlformats-officedocument.presentationml.tags+xml"/>
  <Override PartName="/ppt/tags/tag197.xml" ContentType="application/vnd.openxmlformats-officedocument.presentationml.tags+xml"/>
  <Override PartName="/ppt/tags/tag202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tags/tag18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tags/tag194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tags/tag183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172.xml" ContentType="application/vnd.openxmlformats-officedocument.presentationml.tags+xml"/>
  <Override PartName="/ppt/tags/tag190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Default Extension="jpeg" ContentType="image/jpeg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199.xml" ContentType="application/vnd.openxmlformats-officedocument.presentationml.tags+xml"/>
  <Override PartName="/ppt/tags/tag204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77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tags/tag173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80.xml" ContentType="application/vnd.openxmlformats-officedocument.presentationml.tags+xml"/>
  <Override PartName="/ppt/tags/tag191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01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63.xml" ContentType="application/vnd.openxmlformats-officedocument.presentationml.tags+xml"/>
  <Override PartName="/ppt/tags/tag174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5.xml" ContentType="application/vnd.openxmlformats-officedocument.presentationml.tags+xml"/>
  <Override PartName="/ppt/tags/tag152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presProps.xml" ContentType="application/vnd.openxmlformats-officedocument.presentationml.presProp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tags/tag179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6"/>
  </p:notesMasterIdLst>
  <p:handoutMasterIdLst>
    <p:handoutMasterId r:id="rId27"/>
  </p:handoutMasterIdLst>
  <p:sldIdLst>
    <p:sldId id="256" r:id="rId2"/>
    <p:sldId id="285" r:id="rId3"/>
    <p:sldId id="286" r:id="rId4"/>
    <p:sldId id="289" r:id="rId5"/>
    <p:sldId id="291" r:id="rId6"/>
    <p:sldId id="287" r:id="rId7"/>
    <p:sldId id="288" r:id="rId8"/>
    <p:sldId id="290" r:id="rId9"/>
    <p:sldId id="292" r:id="rId10"/>
    <p:sldId id="293" r:id="rId11"/>
    <p:sldId id="294" r:id="rId12"/>
    <p:sldId id="305" r:id="rId13"/>
    <p:sldId id="296" r:id="rId14"/>
    <p:sldId id="297" r:id="rId15"/>
    <p:sldId id="298" r:id="rId16"/>
    <p:sldId id="301" r:id="rId17"/>
    <p:sldId id="303" r:id="rId18"/>
    <p:sldId id="304" r:id="rId19"/>
    <p:sldId id="306" r:id="rId20"/>
    <p:sldId id="283" r:id="rId21"/>
    <p:sldId id="308" r:id="rId22"/>
    <p:sldId id="299" r:id="rId23"/>
    <p:sldId id="307" r:id="rId24"/>
    <p:sldId id="300" r:id="rId25"/>
  </p:sldIdLst>
  <p:sldSz cx="9144000" cy="6858000" type="screen4x3"/>
  <p:notesSz cx="6797675" cy="9926638"/>
  <p:custDataLst>
    <p:tags r:id="rId28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26" autoAdjust="0"/>
    <p:restoredTop sz="94660"/>
  </p:normalViewPr>
  <p:slideViewPr>
    <p:cSldViewPr>
      <p:cViewPr>
        <p:scale>
          <a:sx n="50" d="100"/>
          <a:sy n="50" d="100"/>
        </p:scale>
        <p:origin x="-1104" y="-510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handoutMaster" Target="handoutMasters/handout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3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3" Type="http://schemas.openxmlformats.org/officeDocument/2006/relationships/image" Target="../media/image17.emf"/><Relationship Id="rId2" Type="http://schemas.openxmlformats.org/officeDocument/2006/relationships/image" Target="../media/image16.emf"/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02CD8C-F54A-441B-B7F6-AAA469D1DF48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799B76-A4A8-4BB8-AB26-9A5BA697D60A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B41C2DF-6C02-497B-93B3-D4283F9E6765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14875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4EC963-F055-4EA2-8476-7FB9AD9AE8E9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94EC963-F055-4EA2-8476-7FB9AD9AE8E9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21.11.201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20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19.xml"/><Relationship Id="rId1" Type="http://schemas.openxmlformats.org/officeDocument/2006/relationships/vmlDrawing" Target="../drawings/vmlDrawing7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22.xml"/><Relationship Id="rId4" Type="http://schemas.openxmlformats.org/officeDocument/2006/relationships/tags" Target="../tags/tag12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8.v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10" Type="http://schemas.openxmlformats.org/officeDocument/2006/relationships/image" Target="../media/image1.png"/><Relationship Id="rId4" Type="http://schemas.openxmlformats.org/officeDocument/2006/relationships/tags" Target="../tags/tag125.xml"/><Relationship Id="rId9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138.xml"/><Relationship Id="rId13" Type="http://schemas.openxmlformats.org/officeDocument/2006/relationships/tags" Target="../tags/tag143.xml"/><Relationship Id="rId18" Type="http://schemas.openxmlformats.org/officeDocument/2006/relationships/tags" Target="../tags/tag148.xml"/><Relationship Id="rId26" Type="http://schemas.openxmlformats.org/officeDocument/2006/relationships/oleObject" Target="../embeddings/oleObject13.bin"/><Relationship Id="rId3" Type="http://schemas.openxmlformats.org/officeDocument/2006/relationships/tags" Target="../tags/tag133.xml"/><Relationship Id="rId21" Type="http://schemas.openxmlformats.org/officeDocument/2006/relationships/tags" Target="../tags/tag151.xml"/><Relationship Id="rId7" Type="http://schemas.openxmlformats.org/officeDocument/2006/relationships/tags" Target="../tags/tag137.xml"/><Relationship Id="rId12" Type="http://schemas.openxmlformats.org/officeDocument/2006/relationships/tags" Target="../tags/tag142.xml"/><Relationship Id="rId17" Type="http://schemas.openxmlformats.org/officeDocument/2006/relationships/tags" Target="../tags/tag147.xml"/><Relationship Id="rId25" Type="http://schemas.openxmlformats.org/officeDocument/2006/relationships/image" Target="../media/image1.png"/><Relationship Id="rId2" Type="http://schemas.openxmlformats.org/officeDocument/2006/relationships/tags" Target="../tags/tag132.xml"/><Relationship Id="rId16" Type="http://schemas.openxmlformats.org/officeDocument/2006/relationships/tags" Target="../tags/tag146.xml"/><Relationship Id="rId20" Type="http://schemas.openxmlformats.org/officeDocument/2006/relationships/tags" Target="../tags/tag150.xml"/><Relationship Id="rId1" Type="http://schemas.openxmlformats.org/officeDocument/2006/relationships/vmlDrawing" Target="../drawings/vmlDrawing9.vml"/><Relationship Id="rId6" Type="http://schemas.openxmlformats.org/officeDocument/2006/relationships/tags" Target="../tags/tag136.xml"/><Relationship Id="rId11" Type="http://schemas.openxmlformats.org/officeDocument/2006/relationships/tags" Target="../tags/tag141.xml"/><Relationship Id="rId24" Type="http://schemas.openxmlformats.org/officeDocument/2006/relationships/oleObject" Target="../embeddings/oleObject12.bin"/><Relationship Id="rId5" Type="http://schemas.openxmlformats.org/officeDocument/2006/relationships/tags" Target="../tags/tag135.xml"/><Relationship Id="rId15" Type="http://schemas.openxmlformats.org/officeDocument/2006/relationships/tags" Target="../tags/tag145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140.xml"/><Relationship Id="rId19" Type="http://schemas.openxmlformats.org/officeDocument/2006/relationships/tags" Target="../tags/tag149.xml"/><Relationship Id="rId4" Type="http://schemas.openxmlformats.org/officeDocument/2006/relationships/tags" Target="../tags/tag134.xml"/><Relationship Id="rId9" Type="http://schemas.openxmlformats.org/officeDocument/2006/relationships/tags" Target="../tags/tag139.xml"/><Relationship Id="rId14" Type="http://schemas.openxmlformats.org/officeDocument/2006/relationships/tags" Target="../tags/tag144.xml"/><Relationship Id="rId22" Type="http://schemas.openxmlformats.org/officeDocument/2006/relationships/tags" Target="../tags/tag152.xml"/><Relationship Id="rId27" Type="http://schemas.openxmlformats.org/officeDocument/2006/relationships/oleObject" Target="../embeddings/oleObject14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1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5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15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164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image" Target="../media/image1.png"/><Relationship Id="rId5" Type="http://schemas.openxmlformats.org/officeDocument/2006/relationships/tags" Target="../tags/tag172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171.xml"/><Relationship Id="rId9" Type="http://schemas.openxmlformats.org/officeDocument/2006/relationships/tags" Target="../tags/tag17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oleObject" Target="../embeddings/oleObject1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2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10" Type="http://schemas.openxmlformats.org/officeDocument/2006/relationships/tags" Target="../tags/tag10.xml"/><Relationship Id="rId19" Type="http://schemas.openxmlformats.org/officeDocument/2006/relationships/image" Target="../media/image1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4" Type="http://schemas.openxmlformats.org/officeDocument/2006/relationships/image" Target="../media/image1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tags" Target="../tags/tag188.xml"/><Relationship Id="rId13" Type="http://schemas.openxmlformats.org/officeDocument/2006/relationships/image" Target="../media/image1.png"/><Relationship Id="rId3" Type="http://schemas.openxmlformats.org/officeDocument/2006/relationships/tags" Target="../tags/tag183.xml"/><Relationship Id="rId7" Type="http://schemas.openxmlformats.org/officeDocument/2006/relationships/tags" Target="../tags/tag187.xml"/><Relationship Id="rId12" Type="http://schemas.openxmlformats.org/officeDocument/2006/relationships/oleObject" Target="../embeddings/oleObject16.bin"/><Relationship Id="rId2" Type="http://schemas.openxmlformats.org/officeDocument/2006/relationships/tags" Target="../tags/tag182.xml"/><Relationship Id="rId1" Type="http://schemas.openxmlformats.org/officeDocument/2006/relationships/vmlDrawing" Target="../drawings/vmlDrawing11.vml"/><Relationship Id="rId6" Type="http://schemas.openxmlformats.org/officeDocument/2006/relationships/tags" Target="../tags/tag18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185.xml"/><Relationship Id="rId10" Type="http://schemas.openxmlformats.org/officeDocument/2006/relationships/tags" Target="../tags/tag190.xml"/><Relationship Id="rId4" Type="http://schemas.openxmlformats.org/officeDocument/2006/relationships/tags" Target="../tags/tag184.xml"/><Relationship Id="rId9" Type="http://schemas.openxmlformats.org/officeDocument/2006/relationships/tags" Target="../tags/tag189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192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91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194.xml"/><Relationship Id="rId4" Type="http://schemas.openxmlformats.org/officeDocument/2006/relationships/tags" Target="../tags/tag193.xml"/><Relationship Id="rId9" Type="http://schemas.openxmlformats.org/officeDocument/2006/relationships/hyperlink" Target="http://www.zakupki.gov.ru/" TargetMode="Externa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201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96.xml"/><Relationship Id="rId7" Type="http://schemas.openxmlformats.org/officeDocument/2006/relationships/tags" Target="../tags/tag200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99.xml"/><Relationship Id="rId11" Type="http://schemas.openxmlformats.org/officeDocument/2006/relationships/tags" Target="../tags/tag204.xml"/><Relationship Id="rId5" Type="http://schemas.openxmlformats.org/officeDocument/2006/relationships/tags" Target="../tags/tag198.xml"/><Relationship Id="rId15" Type="http://schemas.openxmlformats.org/officeDocument/2006/relationships/oleObject" Target="../embeddings/oleObject19.bin"/><Relationship Id="rId10" Type="http://schemas.openxmlformats.org/officeDocument/2006/relationships/tags" Target="../tags/tag203.xml"/><Relationship Id="rId4" Type="http://schemas.openxmlformats.org/officeDocument/2006/relationships/tags" Target="../tags/tag197.xml"/><Relationship Id="rId9" Type="http://schemas.openxmlformats.org/officeDocument/2006/relationships/tags" Target="../tags/tag202.xml"/><Relationship Id="rId1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png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image" Target="../media/image1.png"/><Relationship Id="rId3" Type="http://schemas.openxmlformats.org/officeDocument/2006/relationships/tags" Target="../tags/tag20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oleObject" Target="../embeddings/oleObject2.bin"/><Relationship Id="rId33" Type="http://schemas.openxmlformats.org/officeDocument/2006/relationships/image" Target="../media/image10.png"/><Relationship Id="rId2" Type="http://schemas.openxmlformats.org/officeDocument/2006/relationships/tags" Target="../tags/tag19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29" Type="http://schemas.openxmlformats.org/officeDocument/2006/relationships/image" Target="../media/image6.png"/><Relationship Id="rId1" Type="http://schemas.openxmlformats.org/officeDocument/2006/relationships/vmlDrawing" Target="../drawings/vmlDrawing2.vml"/><Relationship Id="rId6" Type="http://schemas.openxmlformats.org/officeDocument/2006/relationships/tags" Target="../tags/tag23.xml"/><Relationship Id="rId11" Type="http://schemas.openxmlformats.org/officeDocument/2006/relationships/tags" Target="../tags/tag28.xml"/><Relationship Id="rId24" Type="http://schemas.openxmlformats.org/officeDocument/2006/relationships/slideLayout" Target="../slideLayouts/slideLayout2.xml"/><Relationship Id="rId32" Type="http://schemas.openxmlformats.org/officeDocument/2006/relationships/image" Target="../media/image9.png"/><Relationship Id="rId5" Type="http://schemas.openxmlformats.org/officeDocument/2006/relationships/tags" Target="../tags/tag2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28" Type="http://schemas.openxmlformats.org/officeDocument/2006/relationships/image" Target="../media/image5.png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31" Type="http://schemas.openxmlformats.org/officeDocument/2006/relationships/image" Target="../media/image8.png"/><Relationship Id="rId4" Type="http://schemas.openxmlformats.org/officeDocument/2006/relationships/tags" Target="../tags/tag21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image" Target="../media/image4.png"/><Relationship Id="rId30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42.xml"/><Relationship Id="rId7" Type="http://schemas.openxmlformats.org/officeDocument/2006/relationships/oleObject" Target="../embeddings/oleObject3.bin"/><Relationship Id="rId2" Type="http://schemas.openxmlformats.org/officeDocument/2006/relationships/tags" Target="../tags/tag41.xml"/><Relationship Id="rId1" Type="http://schemas.openxmlformats.org/officeDocument/2006/relationships/vmlDrawing" Target="../drawings/vmlDrawing3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44.xml"/><Relationship Id="rId4" Type="http://schemas.openxmlformats.org/officeDocument/2006/relationships/tags" Target="../tags/tag4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image" Target="../media/image11.png"/><Relationship Id="rId3" Type="http://schemas.openxmlformats.org/officeDocument/2006/relationships/tags" Target="../tags/tag47.xml"/><Relationship Id="rId21" Type="http://schemas.openxmlformats.org/officeDocument/2006/relationships/image" Target="../media/image14.png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image" Target="../media/image1.png"/><Relationship Id="rId2" Type="http://schemas.openxmlformats.org/officeDocument/2006/relationships/tags" Target="../tags/tag46.xml"/><Relationship Id="rId16" Type="http://schemas.openxmlformats.org/officeDocument/2006/relationships/slideLayout" Target="../slideLayouts/slideLayout2.xml"/><Relationship Id="rId20" Type="http://schemas.openxmlformats.org/officeDocument/2006/relationships/image" Target="../media/image13.png"/><Relationship Id="rId1" Type="http://schemas.openxmlformats.org/officeDocument/2006/relationships/tags" Target="../tags/tag45.x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10" Type="http://schemas.openxmlformats.org/officeDocument/2006/relationships/tags" Target="../tags/tag54.xml"/><Relationship Id="rId19" Type="http://schemas.openxmlformats.org/officeDocument/2006/relationships/image" Target="../media/image12.png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61.xml"/><Relationship Id="rId7" Type="http://schemas.openxmlformats.org/officeDocument/2006/relationships/oleObject" Target="../embeddings/oleObject4.bin"/><Relationship Id="rId2" Type="http://schemas.openxmlformats.org/officeDocument/2006/relationships/tags" Target="../tags/tag60.xml"/><Relationship Id="rId1" Type="http://schemas.openxmlformats.org/officeDocument/2006/relationships/vmlDrawing" Target="../drawings/vmlDrawing4.v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3.xml"/><Relationship Id="rId4" Type="http://schemas.openxmlformats.org/officeDocument/2006/relationships/tags" Target="../tags/tag6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" Type="http://schemas.openxmlformats.org/officeDocument/2006/relationships/tags" Target="../tags/tag65.xml"/><Relationship Id="rId21" Type="http://schemas.openxmlformats.org/officeDocument/2006/relationships/tags" Target="../tags/tag83.xml"/><Relationship Id="rId34" Type="http://schemas.openxmlformats.org/officeDocument/2006/relationships/image" Target="../media/image1.png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oleObject" Target="../embeddings/oleObject5.bin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tags" Target="../tags/tag91.xml"/><Relationship Id="rId1" Type="http://schemas.openxmlformats.org/officeDocument/2006/relationships/vmlDrawing" Target="../drawings/vmlDrawing5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slideLayout" Target="../slideLayouts/slideLayout2.xml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31" Type="http://schemas.openxmlformats.org/officeDocument/2006/relationships/tags" Target="../tags/tag93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tags" Target="../tags/tag92.xml"/><Relationship Id="rId35" Type="http://schemas.openxmlformats.org/officeDocument/2006/relationships/oleObject" Target="../embeddings/oleObject6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00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26" Type="http://schemas.openxmlformats.org/officeDocument/2006/relationships/tags" Target="../tags/tag118.xml"/><Relationship Id="rId3" Type="http://schemas.openxmlformats.org/officeDocument/2006/relationships/tags" Target="../tags/tag95.xml"/><Relationship Id="rId21" Type="http://schemas.openxmlformats.org/officeDocument/2006/relationships/tags" Target="../tags/tag113.xml"/><Relationship Id="rId7" Type="http://schemas.openxmlformats.org/officeDocument/2006/relationships/tags" Target="../tags/tag99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2" Type="http://schemas.openxmlformats.org/officeDocument/2006/relationships/tags" Target="../tags/tag94.xml"/><Relationship Id="rId16" Type="http://schemas.openxmlformats.org/officeDocument/2006/relationships/tags" Target="../tags/tag108.xml"/><Relationship Id="rId20" Type="http://schemas.openxmlformats.org/officeDocument/2006/relationships/tags" Target="../tags/tag112.xml"/><Relationship Id="rId29" Type="http://schemas.openxmlformats.org/officeDocument/2006/relationships/image" Target="../media/image1.png"/><Relationship Id="rId1" Type="http://schemas.openxmlformats.org/officeDocument/2006/relationships/vmlDrawing" Target="../drawings/vmlDrawing6.vml"/><Relationship Id="rId6" Type="http://schemas.openxmlformats.org/officeDocument/2006/relationships/tags" Target="../tags/tag98.xml"/><Relationship Id="rId11" Type="http://schemas.openxmlformats.org/officeDocument/2006/relationships/tags" Target="../tags/tag103.xml"/><Relationship Id="rId24" Type="http://schemas.openxmlformats.org/officeDocument/2006/relationships/tags" Target="../tags/tag116.xml"/><Relationship Id="rId5" Type="http://schemas.openxmlformats.org/officeDocument/2006/relationships/tags" Target="../tags/tag97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oleObject" Target="../embeddings/oleObject7.bin"/><Relationship Id="rId10" Type="http://schemas.openxmlformats.org/officeDocument/2006/relationships/tags" Target="../tags/tag102.xml"/><Relationship Id="rId19" Type="http://schemas.openxmlformats.org/officeDocument/2006/relationships/tags" Target="../tags/tag111.xml"/><Relationship Id="rId31" Type="http://schemas.openxmlformats.org/officeDocument/2006/relationships/oleObject" Target="../embeddings/oleObject9.bin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4" Type="http://schemas.openxmlformats.org/officeDocument/2006/relationships/tags" Target="../tags/tag106.xml"/><Relationship Id="rId22" Type="http://schemas.openxmlformats.org/officeDocument/2006/relationships/tags" Target="../tags/tag114.xml"/><Relationship Id="rId27" Type="http://schemas.openxmlformats.org/officeDocument/2006/relationships/slideLayout" Target="../slideLayouts/slideLayout2.xml"/><Relationship Id="rId30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4273" name="Picture 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52320" y="188640"/>
            <a:ext cx="1456556" cy="14565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TextBox 21"/>
          <p:cNvSpPr txBox="1"/>
          <p:nvPr/>
        </p:nvSpPr>
        <p:spPr>
          <a:xfrm>
            <a:off x="611560" y="2060848"/>
            <a:ext cx="7992888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b="1" dirty="0" smtClean="0"/>
              <a:t>ИТОГИ</a:t>
            </a:r>
            <a:r>
              <a:rPr lang="ru-RU" sz="2800" dirty="0" smtClean="0"/>
              <a:t> </a:t>
            </a:r>
            <a:r>
              <a:rPr lang="ru-RU" sz="2800" b="1" dirty="0" smtClean="0"/>
              <a:t>ОЦЕНКИ РЕГУЛИРУЮЩЕГО ВОЗДЕЙСТВИЯ ПОСТАНОВЛЕНИЯ ПРАВИТЕЛЬСТВА МОСКВЫ </a:t>
            </a:r>
          </a:p>
          <a:p>
            <a:pPr algn="ctr"/>
            <a:r>
              <a:rPr lang="ru-RU" sz="2800" b="1" u="sng" dirty="0" smtClean="0"/>
              <a:t>от 24 февраля 2012 года №68-ПП </a:t>
            </a:r>
          </a:p>
          <a:p>
            <a:pPr algn="ctr"/>
            <a:endParaRPr lang="ru-RU" sz="2400" dirty="0" smtClean="0">
              <a:latin typeface="+mj-lt"/>
              <a:cs typeface="Arial" pitchFamily="34" charset="0"/>
            </a:endParaRPr>
          </a:p>
          <a:p>
            <a:pPr algn="ctr"/>
            <a:r>
              <a:rPr lang="ru-RU" sz="2400" dirty="0" smtClean="0">
                <a:latin typeface="+mj-lt"/>
                <a:cs typeface="Arial" pitchFamily="34" charset="0"/>
              </a:rPr>
              <a:t>«Об утверждении порядка формирования начальной (максимальной) цены государственных контрактов и гражданско-правовых договоров при размещении заказов на поставки товаров, выполнение работ, оказание услуг, финансирование которых осуществляется с привлечением средств бюджета города Москвы»</a:t>
            </a:r>
            <a:r>
              <a:rPr lang="ru-RU" sz="2400" dirty="0" smtClean="0">
                <a:latin typeface="+mj-lt"/>
              </a:rPr>
              <a:t> </a:t>
            </a:r>
            <a:endParaRPr lang="ru-RU" sz="2400" dirty="0">
              <a:latin typeface="+mj-lt"/>
            </a:endParaRPr>
          </a:p>
        </p:txBody>
      </p:sp>
      <p:pic>
        <p:nvPicPr>
          <p:cNvPr id="542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260648"/>
            <a:ext cx="1028686" cy="12241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Объект 30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9092" name="think-cell Slide" r:id="rId7" imgW="360" imgH="360" progId="">
              <p:embed/>
            </p:oleObj>
          </a:graphicData>
        </a:graphic>
      </p:graphicFrame>
      <p:sp>
        <p:nvSpPr>
          <p:cNvPr id="30" name="Прямоугольник 29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>
              <a:latin typeface="Calibri"/>
              <a:sym typeface="Calibri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249238" y="1250082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Выявленные проблемы 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2" name="Прямоугольник 31"/>
          <p:cNvSpPr/>
          <p:nvPr/>
        </p:nvSpPr>
        <p:spPr>
          <a:xfrm>
            <a:off x="467544" y="1844824"/>
            <a:ext cx="4608512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Отсутствие единого источника  достоверной информации о среднерыночных ценах </a:t>
            </a:r>
            <a:endParaRPr lang="ru-RU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467544" y="2636912"/>
            <a:ext cx="4608512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еэффективное использование механизма внешней экспертизы НМЦ</a:t>
            </a:r>
            <a:endParaRPr lang="ru-RU" dirty="0"/>
          </a:p>
        </p:txBody>
      </p:sp>
      <p:sp>
        <p:nvSpPr>
          <p:cNvPr id="34" name="Правая фигурная скобка 33"/>
          <p:cNvSpPr/>
          <p:nvPr/>
        </p:nvSpPr>
        <p:spPr>
          <a:xfrm>
            <a:off x="5086350" y="1752600"/>
            <a:ext cx="505194" cy="1619250"/>
          </a:xfrm>
          <a:prstGeom prst="rightBrace">
            <a:avLst>
              <a:gd name="adj1" fmla="val 49963"/>
              <a:gd name="adj2" fmla="val 50000"/>
            </a:avLst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5724128" y="1844824"/>
            <a:ext cx="3024336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smtClean="0">
                <a:solidFill>
                  <a:schemeClr val="accent2">
                    <a:lumMod val="50000"/>
                  </a:schemeClr>
                </a:solidFill>
              </a:rPr>
              <a:t>Проблема №1: </a:t>
            </a:r>
          </a:p>
          <a:p>
            <a:r>
              <a:rPr lang="ru-RU" b="1" dirty="0" smtClean="0"/>
              <a:t>Отсутствие  эффективного механизма  формирования и обоснования НМЦ заказчиками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395536" y="3429000"/>
            <a:ext cx="84969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smtClean="0">
                <a:solidFill>
                  <a:schemeClr val="accent2">
                    <a:lumMod val="50000"/>
                  </a:schemeClr>
                </a:solidFill>
              </a:rPr>
              <a:t>Проблема №2: </a:t>
            </a:r>
          </a:p>
          <a:p>
            <a:r>
              <a:rPr lang="ru-RU" b="1" dirty="0" smtClean="0"/>
              <a:t>Низкий уровень информированности и профессиональной подготовки заказчиков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95536" y="4149080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smtClean="0">
                <a:solidFill>
                  <a:schemeClr val="accent2">
                    <a:lumMod val="50000"/>
                  </a:schemeClr>
                </a:solidFill>
              </a:rPr>
              <a:t>Проблема №3: </a:t>
            </a:r>
          </a:p>
          <a:p>
            <a:r>
              <a:rPr lang="ru-RU" b="1" dirty="0" smtClean="0"/>
              <a:t>Неприменимость или сложность применения ряда методик расчета НМЦ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95536" y="4869160"/>
            <a:ext cx="8496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smtClean="0">
                <a:solidFill>
                  <a:schemeClr val="accent2">
                    <a:lumMod val="50000"/>
                  </a:schemeClr>
                </a:solidFill>
              </a:rPr>
              <a:t>Проблема №4: </a:t>
            </a:r>
          </a:p>
          <a:p>
            <a:r>
              <a:rPr lang="ru-RU" b="1" dirty="0" smtClean="0"/>
              <a:t>Несоответствие существующих методик расчета проекту федерального закона о ФКС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395536" y="5805264"/>
            <a:ext cx="82809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u="sng" dirty="0" smtClean="0">
                <a:solidFill>
                  <a:schemeClr val="accent2">
                    <a:lumMod val="50000"/>
                  </a:schemeClr>
                </a:solidFill>
              </a:rPr>
              <a:t>Проблема №5: </a:t>
            </a:r>
          </a:p>
          <a:p>
            <a:r>
              <a:rPr lang="ru-RU" b="1" dirty="0" smtClean="0"/>
              <a:t>В ЕАИСТ нет функционала позволяющего отслеживать исполнение норм 68-ПП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/>
      <p:bldP spid="35" grpId="0"/>
      <p:bldP spid="36" grpId="0"/>
      <p:bldP spid="37" grpId="0"/>
      <p:bldP spid="38" grpId="0"/>
      <p:bldP spid="3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0114" name="think-cell Slide" r:id="rId9" imgW="360" imgH="360" progId="">
              <p:embed/>
            </p:oleObj>
          </a:graphicData>
        </a:graphic>
      </p:graphicFrame>
      <p:sp>
        <p:nvSpPr>
          <p:cNvPr id="4" name="Прямоугольник 3"/>
          <p:cNvSpPr/>
          <p:nvPr>
            <p:custDataLst>
              <p:tags r:id="rId2"/>
            </p:custDataLst>
          </p:nvPr>
        </p:nvSpPr>
        <p:spPr>
          <a:xfrm>
            <a:off x="249238" y="1250082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льтернативы решения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3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Прямоугольник 14"/>
          <p:cNvSpPr/>
          <p:nvPr>
            <p:custDataLst>
              <p:tags r:id="rId5"/>
            </p:custDataLst>
          </p:nvPr>
        </p:nvSpPr>
        <p:spPr bwMode="auto">
          <a:xfrm>
            <a:off x="395287" y="1844675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rgbClr val="C30C3E"/>
                </a:solidFill>
                <a:latin typeface="Wingdings"/>
                <a:sym typeface="Wingdings"/>
              </a:rPr>
              <a:t>û</a:t>
            </a:r>
            <a:endParaRPr lang="ru-RU" dirty="0">
              <a:solidFill>
                <a:srgbClr val="C30C3E"/>
              </a:solidFill>
              <a:sym typeface="Wingdings"/>
            </a:endParaRPr>
          </a:p>
        </p:txBody>
      </p:sp>
      <p:sp>
        <p:nvSpPr>
          <p:cNvPr id="16" name="Прямоугольник 15"/>
          <p:cNvSpPr/>
          <p:nvPr>
            <p:custDataLst>
              <p:tags r:id="rId6"/>
            </p:custDataLst>
          </p:nvPr>
        </p:nvSpPr>
        <p:spPr>
          <a:xfrm>
            <a:off x="714375" y="1700212"/>
            <a:ext cx="8138864" cy="1007517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Проблема:</a:t>
            </a:r>
            <a:r>
              <a:rPr lang="ru-RU" b="1" dirty="0" smtClean="0">
                <a:sym typeface="Calibri"/>
              </a:rPr>
              <a:t> </a:t>
            </a:r>
          </a:p>
          <a:p>
            <a:pPr algn="just">
              <a:spcBef>
                <a:spcPct val="0"/>
              </a:spcBef>
              <a:spcAft>
                <a:spcPct val="0"/>
              </a:spcAft>
            </a:pPr>
            <a:r>
              <a:rPr lang="ru-RU" b="1" dirty="0" smtClean="0"/>
              <a:t>Отсутствие эффективно функционирующего механизма формирования и обоснования НМЦ государственными заказчиками в городе Москве</a:t>
            </a:r>
            <a:endParaRPr lang="ru-RU" b="1" dirty="0">
              <a:sym typeface="Calibri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7"/>
            </p:custDataLst>
          </p:nvPr>
        </p:nvSpPr>
        <p:spPr>
          <a:xfrm>
            <a:off x="357158" y="2857496"/>
            <a:ext cx="8424936" cy="36471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defTabSz="-1588">
              <a:spcBef>
                <a:spcPts val="600"/>
              </a:spcBef>
              <a:spcAft>
                <a:spcPct val="0"/>
              </a:spcAft>
            </a:pPr>
            <a:r>
              <a:rPr lang="ru-RU" b="1" dirty="0" smtClean="0">
                <a:sym typeface="Calibri"/>
              </a:rPr>
              <a:t>	</a:t>
            </a:r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Альтернатива №0: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 </a:t>
            </a:r>
            <a:r>
              <a:rPr lang="ru-RU" dirty="0" smtClean="0">
                <a:sym typeface="Calibri"/>
              </a:rPr>
              <a:t>«Статус-кво»</a:t>
            </a:r>
          </a:p>
          <a:p>
            <a:pPr marL="177800" defTabSz="-1588">
              <a:spcBef>
                <a:spcPts val="600"/>
              </a:spcBef>
              <a:spcAft>
                <a:spcPct val="0"/>
              </a:spcAft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	</a:t>
            </a:r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Альтернатива №1:</a:t>
            </a:r>
            <a:r>
              <a:rPr lang="ru-RU" b="1" u="sng" dirty="0" smtClean="0">
                <a:sym typeface="Calibri"/>
              </a:rPr>
              <a:t> </a:t>
            </a:r>
            <a:r>
              <a:rPr lang="ru-RU" dirty="0" smtClean="0"/>
              <a:t>Централизация работы по мониторингу, анализу и экспертизе НМЦ заказов свыше 20 млн.руб. посредством создания ГБУ</a:t>
            </a:r>
          </a:p>
          <a:p>
            <a:pPr marL="177800" defTabSz="-1588">
              <a:spcBef>
                <a:spcPts val="600"/>
              </a:spcBef>
              <a:spcAft>
                <a:spcPct val="0"/>
              </a:spcAft>
            </a:pPr>
            <a:r>
              <a:rPr lang="ru-RU" b="1" dirty="0" smtClean="0">
                <a:sym typeface="Calibri"/>
              </a:rPr>
              <a:t>	</a:t>
            </a:r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Альтернатива №2:</a:t>
            </a:r>
            <a:r>
              <a:rPr lang="ru-RU" b="1" dirty="0" smtClean="0">
                <a:sym typeface="Calibri"/>
              </a:rPr>
              <a:t> </a:t>
            </a:r>
            <a:r>
              <a:rPr lang="ru-RU" dirty="0" smtClean="0"/>
              <a:t>Привлечение силами уполномоченного органа исполнительной власти пула экспертных организаций для проведения  независимой экспертизы обоснованности НМЦ заказов от 20 млн.руб.  (по отраслевому или продуктовому (товары, работы, услуги) признаку) и мониторинга уровня цен</a:t>
            </a:r>
          </a:p>
          <a:p>
            <a:pPr marL="177800" defTabSz="-1588">
              <a:spcBef>
                <a:spcPts val="600"/>
              </a:spcBef>
              <a:spcAft>
                <a:spcPct val="0"/>
              </a:spcAft>
            </a:pPr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Альтернатива №3:</a:t>
            </a:r>
            <a:r>
              <a:rPr lang="ru-RU" b="1" dirty="0" smtClean="0">
                <a:sym typeface="Calibri"/>
              </a:rPr>
              <a:t> </a:t>
            </a:r>
            <a:r>
              <a:rPr lang="ru-RU" dirty="0" smtClean="0"/>
              <a:t>Привлечение силами ГРБС экспертных организаций для проведения независимой экспертизы обоснованности НМЦ заказов от 20 млн.руб. и формирования справочников (баз) рекомендуемых цен на товары (работы, услуги)</a:t>
            </a:r>
            <a:endParaRPr lang="ru-RU" dirty="0">
              <a:sym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8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49238" y="1250082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дресаты регулирования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357158" y="2143116"/>
            <a:ext cx="2214578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Государство</a:t>
            </a:r>
            <a:endParaRPr lang="ru-RU" sz="2800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2710952" y="1819282"/>
            <a:ext cx="605678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2000" b="1" dirty="0" smtClean="0"/>
              <a:t> Главные распорядители бюджетных средств (ГРБС)</a:t>
            </a:r>
            <a:endParaRPr lang="ru-RU" sz="2000" b="1" dirty="0"/>
          </a:p>
        </p:txBody>
      </p:sp>
      <p:sp>
        <p:nvSpPr>
          <p:cNvPr id="17" name="TextBox 16"/>
          <p:cNvSpPr txBox="1"/>
          <p:nvPr/>
        </p:nvSpPr>
        <p:spPr>
          <a:xfrm>
            <a:off x="2681274" y="2181216"/>
            <a:ext cx="398852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2000" b="1" dirty="0" smtClean="0"/>
              <a:t> Заказчики, не являющиеся ГРБС </a:t>
            </a:r>
            <a:endParaRPr lang="ru-RU" sz="2000" b="1" dirty="0"/>
          </a:p>
        </p:txBody>
      </p:sp>
      <p:sp>
        <p:nvSpPr>
          <p:cNvPr id="18" name="TextBox 17"/>
          <p:cNvSpPr txBox="1"/>
          <p:nvPr/>
        </p:nvSpPr>
        <p:spPr>
          <a:xfrm>
            <a:off x="2714612" y="2571744"/>
            <a:ext cx="6132833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ru-RU" sz="2000" b="1" dirty="0" smtClean="0"/>
              <a:t>Контролирующие, методически обеспечивающие и </a:t>
            </a:r>
          </a:p>
          <a:p>
            <a:r>
              <a:rPr lang="ru-RU" sz="2000" b="1" dirty="0" smtClean="0"/>
              <a:t>  надзорные государственные органы </a:t>
            </a:r>
            <a:endParaRPr lang="ru-RU" sz="2000" b="1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357158" y="3786190"/>
            <a:ext cx="2214578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Общество</a:t>
            </a:r>
            <a:endParaRPr lang="ru-RU" sz="28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2714612" y="3429000"/>
            <a:ext cx="607223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Заинтересовано в повышении уровня качества </a:t>
            </a:r>
          </a:p>
          <a:p>
            <a:r>
              <a:rPr lang="ru-RU" sz="2000" b="1" dirty="0" smtClean="0"/>
              <a:t>товаров (работ, услуг), закупаемых за  счет средств </a:t>
            </a:r>
          </a:p>
          <a:p>
            <a:r>
              <a:rPr lang="ru-RU" sz="2000" b="1" dirty="0" smtClean="0"/>
              <a:t>бюджета, то есть, прозрачности процесса </a:t>
            </a:r>
          </a:p>
          <a:p>
            <a:r>
              <a:rPr lang="ru-RU" sz="2000" b="1" dirty="0" smtClean="0"/>
              <a:t>формирования НМЦ заказчиками  </a:t>
            </a:r>
            <a:endParaRPr lang="ru-RU" sz="2000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395536" y="5301208"/>
            <a:ext cx="2214578" cy="64807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/>
              <a:t>Бизнес</a:t>
            </a:r>
            <a:endParaRPr lang="ru-RU" sz="2800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2786050" y="4929198"/>
            <a:ext cx="607223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Данная группа заинтересована в повышении </a:t>
            </a:r>
          </a:p>
          <a:p>
            <a:r>
              <a:rPr lang="ru-RU" sz="2000" b="1" dirty="0" smtClean="0"/>
              <a:t>прозрачности системы размещения заказа, и в </a:t>
            </a:r>
          </a:p>
          <a:p>
            <a:r>
              <a:rPr lang="ru-RU" sz="2000" b="1" dirty="0" smtClean="0"/>
              <a:t>частности процедуры формирования НМЦ  (отдельные представители заинтересованы в завышении НМЦ государственных заказов)</a:t>
            </a:r>
            <a:endParaRPr lang="ru-RU" sz="2000" b="1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6" grpId="0"/>
      <p:bldP spid="17" grpId="0"/>
      <p:bldP spid="18" grpId="0"/>
      <p:bldP spid="19" grpId="0" animBg="1"/>
      <p:bldP spid="20" grpId="0"/>
      <p:bldP spid="23" grpId="0" animBg="1"/>
      <p:bldP spid="2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62" name="think-cell Slide" r:id="rId24" imgW="360" imgH="360" progId="">
              <p:embed/>
            </p:oleObj>
          </a:graphicData>
        </a:graphic>
      </p:graphicFrame>
      <p:sp>
        <p:nvSpPr>
          <p:cNvPr id="21" name="Прямоугольник 20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>
              <a:latin typeface="Calibri"/>
              <a:sym typeface="Calibri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249238" y="1250082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льтернативы: обоснование порога НМЦ в 20 млн.руб.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Box 10"/>
          <p:cNvSpPr txBox="1"/>
          <p:nvPr>
            <p:custDataLst>
              <p:tags r:id="rId6"/>
            </p:custDataLst>
          </p:nvPr>
        </p:nvSpPr>
        <p:spPr>
          <a:xfrm>
            <a:off x="323528" y="1772816"/>
            <a:ext cx="432048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</a:rPr>
              <a:t>Распределение торгов по кол-ву и сумме с 1 января по 1 сентября 2012 года:</a:t>
            </a:r>
            <a:endParaRPr lang="ru-RU" b="1" u="sng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22" name="Объект 21"/>
          <p:cNvGraphicFramePr>
            <a:graphicFrameLocks noChangeAspect="1"/>
          </p:cNvGraphicFramePr>
          <p:nvPr/>
        </p:nvGraphicFramePr>
        <p:xfrm>
          <a:off x="254000" y="2498725"/>
          <a:ext cx="4524451" cy="3952951"/>
        </p:xfrm>
        <a:graphic>
          <a:graphicData uri="http://schemas.openxmlformats.org/presentationml/2006/ole">
            <p:oleObj spid="_x0000_s92164" name="Диаграмма" r:id="rId26" imgW="4524451" imgH="3952951" progId="MSGraph.Chart.8">
              <p:embed followColorScheme="full"/>
            </p:oleObj>
          </a:graphicData>
        </a:graphic>
      </p:graphicFrame>
      <p:sp>
        <p:nvSpPr>
          <p:cNvPr id="24" name="Прямоугольник 23"/>
          <p:cNvSpPr/>
          <p:nvPr>
            <p:custDataLst>
              <p:tags r:id="rId7"/>
            </p:custDataLst>
          </p:nvPr>
        </p:nvSpPr>
        <p:spPr bwMode="auto">
          <a:xfrm>
            <a:off x="4541837" y="6296025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2ADE286-383F-4DEA-BA8A-379715C31533}" type="datetime'''''&gt;''''''5''''''''''''''''''''0''''''''''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50</a:t>
            </a:fld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8"/>
            </p:custDataLst>
          </p:nvPr>
        </p:nvSpPr>
        <p:spPr bwMode="auto">
          <a:xfrm>
            <a:off x="3760787" y="6296025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50DABD2-32CD-4334-8F78-ADEA194FD9E2}" type="datetime'&gt;''''''''''''''''''''''''4''''''''''0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4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9"/>
            </p:custDataLst>
          </p:nvPr>
        </p:nvSpPr>
        <p:spPr bwMode="auto">
          <a:xfrm>
            <a:off x="2989262" y="6296025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83FE746-41F6-4717-9310-ECC4B80EA28C}" type="datetime'''''&gt;''''3''''''''''''''''0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3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7" name="Прямоугольник 26"/>
          <p:cNvSpPr/>
          <p:nvPr>
            <p:custDataLst>
              <p:tags r:id="rId10"/>
            </p:custDataLst>
          </p:nvPr>
        </p:nvSpPr>
        <p:spPr bwMode="auto">
          <a:xfrm>
            <a:off x="2208212" y="6296025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31F69CB-02C9-471E-9AA7-84D528E60788}" type="datetime'''''''''''''''''''''''''''''''''''''''&gt;''''''''2''''''''''''0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2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8" name="Прямоугольник 27"/>
          <p:cNvSpPr/>
          <p:nvPr>
            <p:custDataLst>
              <p:tags r:id="rId11"/>
            </p:custDataLst>
          </p:nvPr>
        </p:nvSpPr>
        <p:spPr bwMode="auto">
          <a:xfrm>
            <a:off x="1436687" y="6296025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BE7314D-7329-4788-8DD8-51AE99039A85}" type="datetime'''''''''''''''''''''''''''''''''&gt;1''''''''0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1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12"/>
            </p:custDataLst>
          </p:nvPr>
        </p:nvSpPr>
        <p:spPr bwMode="auto">
          <a:xfrm>
            <a:off x="701675" y="6296025"/>
            <a:ext cx="1920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C20FD64-424D-4C0B-B9DA-951008B3BBEB}" type="datetime'''''''''''&gt;''''''''''''''''''''''''''''''3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3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cxnSp>
        <p:nvCxnSpPr>
          <p:cNvPr id="30" name="Прямая соединительная линия 29"/>
          <p:cNvCxnSpPr/>
          <p:nvPr>
            <p:custDataLst>
              <p:tags r:id="rId13"/>
            </p:custDataLst>
          </p:nvPr>
        </p:nvCxnSpPr>
        <p:spPr>
          <a:xfrm flipH="1" flipV="1">
            <a:off x="2328862" y="3143250"/>
            <a:ext cx="224" cy="2952651"/>
          </a:xfrm>
          <a:prstGeom prst="line">
            <a:avLst/>
          </a:prstGeom>
          <a:ln w="28575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>
            <p:custDataLst>
              <p:tags r:id="rId14"/>
            </p:custDataLst>
          </p:nvPr>
        </p:nvSpPr>
        <p:spPr>
          <a:xfrm>
            <a:off x="2328862" y="5159375"/>
            <a:ext cx="19964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20% от количества</a:t>
            </a:r>
            <a:endParaRPr lang="ru-RU" dirty="0"/>
          </a:p>
        </p:txBody>
      </p:sp>
      <p:sp>
        <p:nvSpPr>
          <p:cNvPr id="32" name="TextBox 31"/>
          <p:cNvSpPr txBox="1"/>
          <p:nvPr>
            <p:custDataLst>
              <p:tags r:id="rId15"/>
            </p:custDataLst>
          </p:nvPr>
        </p:nvSpPr>
        <p:spPr>
          <a:xfrm>
            <a:off x="2328862" y="3216275"/>
            <a:ext cx="164840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80% от объема</a:t>
            </a:r>
            <a:endParaRPr lang="ru-RU" dirty="0"/>
          </a:p>
        </p:txBody>
      </p:sp>
      <p:graphicFrame>
        <p:nvGraphicFramePr>
          <p:cNvPr id="34" name="Объект 33"/>
          <p:cNvGraphicFramePr>
            <a:graphicFrameLocks noChangeAspect="1"/>
          </p:cNvGraphicFramePr>
          <p:nvPr/>
        </p:nvGraphicFramePr>
        <p:xfrm>
          <a:off x="4848225" y="2744788"/>
          <a:ext cx="3924300" cy="3705149"/>
        </p:xfrm>
        <a:graphic>
          <a:graphicData uri="http://schemas.openxmlformats.org/presentationml/2006/ole">
            <p:oleObj spid="_x0000_s92165" name="Диаграмма" r:id="rId27" imgW="3924300" imgH="3705149" progId="MSGraph.Chart.8">
              <p:embed followColorScheme="full"/>
            </p:oleObj>
          </a:graphicData>
        </a:graphic>
      </p:graphicFrame>
      <p:sp>
        <p:nvSpPr>
          <p:cNvPr id="36" name="Прямоугольник 35"/>
          <p:cNvSpPr/>
          <p:nvPr>
            <p:custDataLst>
              <p:tags r:id="rId16"/>
            </p:custDataLst>
          </p:nvPr>
        </p:nvSpPr>
        <p:spPr bwMode="auto">
          <a:xfrm>
            <a:off x="8526462" y="6284912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D7285D4-DBD9-422F-A013-497E34C2736D}" type="datetime'''''&gt;''''5''''''''''''''''''''''''0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5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7" name="Прямоугольник 36"/>
          <p:cNvSpPr/>
          <p:nvPr>
            <p:custDataLst>
              <p:tags r:id="rId17"/>
            </p:custDataLst>
          </p:nvPr>
        </p:nvSpPr>
        <p:spPr bwMode="auto">
          <a:xfrm>
            <a:off x="7850187" y="6284912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03C00F0-F232-405B-9E11-8BB674C8FAC7}" type="datetime'&gt;''''''''40''''''''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4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18"/>
            </p:custDataLst>
          </p:nvPr>
        </p:nvSpPr>
        <p:spPr bwMode="auto">
          <a:xfrm>
            <a:off x="7173912" y="6284912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3AA6D57-137D-4075-804B-E7E178B60DEA}" type="datetime'''''''''''''''''''''''''&gt;''''3''''''0''''''''''''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3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19"/>
            </p:custDataLst>
          </p:nvPr>
        </p:nvSpPr>
        <p:spPr bwMode="auto">
          <a:xfrm>
            <a:off x="6507162" y="6284912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F698C7E-0B9E-49CB-B1BA-8B60D9E0DDF5}" type="datetime'''''''''''''''''''''''''&gt;''''''''''''2''0''''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2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0" name="Прямоугольник 39"/>
          <p:cNvSpPr/>
          <p:nvPr>
            <p:custDataLst>
              <p:tags r:id="rId20"/>
            </p:custDataLst>
          </p:nvPr>
        </p:nvSpPr>
        <p:spPr bwMode="auto">
          <a:xfrm>
            <a:off x="5830887" y="6284912"/>
            <a:ext cx="282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1153C6A-CC5A-488E-A6D5-73ADE5F70219}" type="datetime'''''''''''''''&gt;''''''''''''''''''''''''''''''''1''0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10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21"/>
            </p:custDataLst>
          </p:nvPr>
        </p:nvSpPr>
        <p:spPr bwMode="auto">
          <a:xfrm>
            <a:off x="5200650" y="6284912"/>
            <a:ext cx="1920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B233C90-2C91-4BB9-967A-7AD01A4E16F3}" type="datetime'''''''''''''''''''''''''''''''''''''''''''&gt;''''3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&gt;3</a:t>
            </a:fld>
            <a:endParaRPr lang="en-US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2" name="TextBox 41"/>
          <p:cNvSpPr txBox="1"/>
          <p:nvPr>
            <p:custDataLst>
              <p:tags r:id="rId22"/>
            </p:custDataLst>
          </p:nvPr>
        </p:nvSpPr>
        <p:spPr>
          <a:xfrm>
            <a:off x="4716016" y="1772816"/>
            <a:ext cx="41409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</a:rPr>
              <a:t>График зависимости количества привлекаемых организаций для внешней экспертизы от порога НМЦ :</a:t>
            </a:r>
            <a:endParaRPr lang="ru-RU" b="1" u="sng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611560" y="2420888"/>
            <a:ext cx="3497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%</a:t>
            </a:r>
            <a:endParaRPr lang="ru-RU" dirty="0"/>
          </a:p>
        </p:txBody>
      </p:sp>
      <p:sp>
        <p:nvSpPr>
          <p:cNvPr id="53" name="TextBox 52"/>
          <p:cNvSpPr txBox="1"/>
          <p:nvPr/>
        </p:nvSpPr>
        <p:spPr>
          <a:xfrm>
            <a:off x="5292080" y="2780928"/>
            <a:ext cx="49090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шт.</a:t>
            </a:r>
            <a:endParaRPr lang="ru-RU" dirty="0"/>
          </a:p>
        </p:txBody>
      </p:sp>
      <p:sp>
        <p:nvSpPr>
          <p:cNvPr id="54" name="TextBox 53"/>
          <p:cNvSpPr txBox="1"/>
          <p:nvPr/>
        </p:nvSpPr>
        <p:spPr>
          <a:xfrm>
            <a:off x="755576" y="5805264"/>
            <a:ext cx="10438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млн.руб.</a:t>
            </a:r>
            <a:endParaRPr lang="ru-RU" dirty="0"/>
          </a:p>
        </p:txBody>
      </p:sp>
      <p:sp>
        <p:nvSpPr>
          <p:cNvPr id="55" name="TextBox 54"/>
          <p:cNvSpPr txBox="1"/>
          <p:nvPr/>
        </p:nvSpPr>
        <p:spPr>
          <a:xfrm>
            <a:off x="5292080" y="5805264"/>
            <a:ext cx="104381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млн.руб.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3186" name="think-cell Slide" r:id="rId6" imgW="360" imgH="360" progId="">
              <p:embed/>
            </p:oleObj>
          </a:graphicData>
        </a:graphic>
      </p:graphicFrame>
      <p:sp>
        <p:nvSpPr>
          <p:cNvPr id="4" name="Прямоугольник 3"/>
          <p:cNvSpPr/>
          <p:nvPr>
            <p:custDataLst>
              <p:tags r:id="rId2"/>
            </p:custDataLst>
          </p:nvPr>
        </p:nvSpPr>
        <p:spPr>
          <a:xfrm>
            <a:off x="249238" y="1250082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льтернатива №1 (ГБУ)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3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307182" y="1792705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бор информации заказчиком </a:t>
            </a:r>
            <a:endParaRPr lang="ru-RU" dirty="0"/>
          </a:p>
        </p:txBody>
      </p:sp>
      <p:sp>
        <p:nvSpPr>
          <p:cNvPr id="12" name="Стрелка вправо 11"/>
          <p:cNvSpPr/>
          <p:nvPr/>
        </p:nvSpPr>
        <p:spPr>
          <a:xfrm>
            <a:off x="1963366" y="2008729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2467422" y="1792705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асчет заказчиком НМЦ</a:t>
            </a:r>
            <a:endParaRPr lang="ru-RU" dirty="0"/>
          </a:p>
        </p:txBody>
      </p:sp>
      <p:sp>
        <p:nvSpPr>
          <p:cNvPr id="14" name="Стрелка вправо 13"/>
          <p:cNvSpPr/>
          <p:nvPr/>
        </p:nvSpPr>
        <p:spPr>
          <a:xfrm>
            <a:off x="4123606" y="2008729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4627662" y="1792705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гласование НМЦ на ГРБС, МРГ и т.д.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4411638" y="3880937"/>
            <a:ext cx="2016224" cy="936104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езависимая экспертиза обоснования НМЦ</a:t>
            </a:r>
            <a:endParaRPr lang="ru-RU" dirty="0"/>
          </a:p>
        </p:txBody>
      </p:sp>
      <p:sp>
        <p:nvSpPr>
          <p:cNvPr id="17" name="Двойная стрелка вверх/вниз 16"/>
          <p:cNvSpPr/>
          <p:nvPr/>
        </p:nvSpPr>
        <p:spPr>
          <a:xfrm>
            <a:off x="5275734" y="3335938"/>
            <a:ext cx="360040" cy="504056"/>
          </a:xfrm>
          <a:prstGeom prst="upDown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4411638" y="1360657"/>
            <a:ext cx="2016224" cy="208823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3 млн.руб.</a:t>
            </a:r>
            <a:endParaRPr lang="ru-RU" b="1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267622" y="3736921"/>
            <a:ext cx="2304256" cy="201622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20 млн.руб</a:t>
            </a:r>
            <a:r>
              <a:rPr lang="ru-RU" dirty="0" smtClean="0">
                <a:solidFill>
                  <a:schemeClr val="tx1"/>
                </a:solidFill>
              </a:rPr>
              <a:t>.</a:t>
            </a:r>
            <a:endParaRPr lang="ru-RU" dirty="0"/>
          </a:p>
        </p:txBody>
      </p:sp>
      <p:sp>
        <p:nvSpPr>
          <p:cNvPr id="20" name="Стрелка вправо 19"/>
          <p:cNvSpPr/>
          <p:nvPr/>
        </p:nvSpPr>
        <p:spPr>
          <a:xfrm>
            <a:off x="6283846" y="2008729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/>
          <p:cNvSpPr/>
          <p:nvPr/>
        </p:nvSpPr>
        <p:spPr>
          <a:xfrm>
            <a:off x="6787902" y="1792705"/>
            <a:ext cx="2016224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убликация заказа (занесение в ЕАИСТ)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307182" y="2800817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еречень источников</a:t>
            </a:r>
            <a:endParaRPr lang="ru-RU" sz="1600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2467422" y="2800817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Методики расчета</a:t>
            </a:r>
            <a:endParaRPr lang="ru-RU" sz="160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6787902" y="2800817"/>
            <a:ext cx="2016224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рограммное обеспечение</a:t>
            </a:r>
            <a:endParaRPr lang="ru-RU" sz="16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4411638" y="4889049"/>
            <a:ext cx="2016224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Регламент предоставления док.</a:t>
            </a:r>
            <a:endParaRPr lang="ru-RU" sz="16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4627662" y="2800817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оложения об РГ и МРГ</a:t>
            </a:r>
            <a:endParaRPr lang="ru-RU" sz="1600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4051598" y="3592905"/>
            <a:ext cx="2672680" cy="2952328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ГУ «Центр мониторинга и экспертизы цен»</a:t>
            </a: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8" name="Стрелка влево 27"/>
          <p:cNvSpPr/>
          <p:nvPr/>
        </p:nvSpPr>
        <p:spPr>
          <a:xfrm>
            <a:off x="2123728" y="4725144"/>
            <a:ext cx="1800200" cy="484632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467544" y="4457001"/>
            <a:ext cx="1504206" cy="1152128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Открытые источники информации</a:t>
            </a: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411760" y="5157192"/>
            <a:ext cx="15121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информация</a:t>
            </a:r>
          </a:p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о ценах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1" name="Двойная стрелка вверх/вниз 30"/>
          <p:cNvSpPr/>
          <p:nvPr/>
        </p:nvSpPr>
        <p:spPr>
          <a:xfrm>
            <a:off x="811238" y="3376881"/>
            <a:ext cx="484632" cy="1008112"/>
          </a:xfrm>
          <a:prstGeom prst="upDown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Стрелка влево 31"/>
          <p:cNvSpPr/>
          <p:nvPr/>
        </p:nvSpPr>
        <p:spPr>
          <a:xfrm>
            <a:off x="6787902" y="4384992"/>
            <a:ext cx="432048" cy="377457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TextBox 32"/>
          <p:cNvSpPr txBox="1"/>
          <p:nvPr/>
        </p:nvSpPr>
        <p:spPr>
          <a:xfrm>
            <a:off x="7291958" y="4240977"/>
            <a:ext cx="1468352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«Портал </a:t>
            </a:r>
          </a:p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поставщиков»</a:t>
            </a:r>
          </a:p>
        </p:txBody>
      </p:sp>
      <p:sp>
        <p:nvSpPr>
          <p:cNvPr id="34" name="Стрелка углом вверх 33"/>
          <p:cNvSpPr/>
          <p:nvPr/>
        </p:nvSpPr>
        <p:spPr>
          <a:xfrm rot="16200000" flipH="1">
            <a:off x="6679890" y="3484893"/>
            <a:ext cx="720080" cy="504056"/>
          </a:xfrm>
          <a:prstGeom prst="bentUp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TextBox 34"/>
          <p:cNvSpPr txBox="1"/>
          <p:nvPr/>
        </p:nvSpPr>
        <p:spPr>
          <a:xfrm>
            <a:off x="7363966" y="3376881"/>
            <a:ext cx="14206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Статистика </a:t>
            </a:r>
          </a:p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по ценам контрактов</a:t>
            </a:r>
          </a:p>
        </p:txBody>
      </p:sp>
      <p:sp>
        <p:nvSpPr>
          <p:cNvPr id="36" name="Стрелка влево 35"/>
          <p:cNvSpPr/>
          <p:nvPr/>
        </p:nvSpPr>
        <p:spPr>
          <a:xfrm>
            <a:off x="6787902" y="5015647"/>
            <a:ext cx="432048" cy="377457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TextBox 36"/>
          <p:cNvSpPr txBox="1"/>
          <p:nvPr/>
        </p:nvSpPr>
        <p:spPr>
          <a:xfrm>
            <a:off x="7291958" y="4889049"/>
            <a:ext cx="162070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Цены ДЭПР в</a:t>
            </a:r>
          </a:p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рамках 1030-ПП</a:t>
            </a:r>
          </a:p>
        </p:txBody>
      </p:sp>
      <p:sp>
        <p:nvSpPr>
          <p:cNvPr id="38" name="Стрелка влево 37"/>
          <p:cNvSpPr/>
          <p:nvPr/>
        </p:nvSpPr>
        <p:spPr>
          <a:xfrm>
            <a:off x="6787902" y="5605359"/>
            <a:ext cx="432048" cy="377457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TextBox 38"/>
          <p:cNvSpPr txBox="1"/>
          <p:nvPr/>
        </p:nvSpPr>
        <p:spPr>
          <a:xfrm>
            <a:off x="7291958" y="5537121"/>
            <a:ext cx="157536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Утвержденные </a:t>
            </a:r>
          </a:p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тарифы</a:t>
            </a:r>
          </a:p>
        </p:txBody>
      </p:sp>
      <p:sp>
        <p:nvSpPr>
          <p:cNvPr id="40" name="Стрелка влево 39"/>
          <p:cNvSpPr/>
          <p:nvPr/>
        </p:nvSpPr>
        <p:spPr>
          <a:xfrm>
            <a:off x="6769528" y="6161030"/>
            <a:ext cx="432048" cy="377457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1" name="TextBox 40"/>
          <p:cNvSpPr txBox="1"/>
          <p:nvPr/>
        </p:nvSpPr>
        <p:spPr>
          <a:xfrm>
            <a:off x="7291958" y="6113185"/>
            <a:ext cx="161223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Маркетинговые</a:t>
            </a:r>
          </a:p>
          <a:p>
            <a:pPr algn="ctr"/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исследования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/>
      <p:bldP spid="31" grpId="0" animBg="1"/>
      <p:bldP spid="32" grpId="0" animBg="1"/>
      <p:bldP spid="33" grpId="0"/>
      <p:bldP spid="34" grpId="0" animBg="1"/>
      <p:bldP spid="35" grpId="0"/>
      <p:bldP spid="36" grpId="0" animBg="1"/>
      <p:bldP spid="37" grpId="0"/>
      <p:bldP spid="38" grpId="0" animBg="1"/>
      <p:bldP spid="39" grpId="0"/>
      <p:bldP spid="40" grpId="0" animBg="1"/>
      <p:bldP spid="4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49238" y="1250082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льтернатива №2 (ДЭПР)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Прямоугольник 37"/>
          <p:cNvSpPr/>
          <p:nvPr/>
        </p:nvSpPr>
        <p:spPr>
          <a:xfrm>
            <a:off x="323528" y="1757958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бор информации заказчиком </a:t>
            </a:r>
            <a:endParaRPr lang="ru-RU" dirty="0"/>
          </a:p>
        </p:txBody>
      </p:sp>
      <p:sp>
        <p:nvSpPr>
          <p:cNvPr id="39" name="Стрелка вправо 38"/>
          <p:cNvSpPr/>
          <p:nvPr/>
        </p:nvSpPr>
        <p:spPr>
          <a:xfrm>
            <a:off x="1979712" y="1973982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2483768" y="1757958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асчет заказчиком НМЦ</a:t>
            </a:r>
            <a:endParaRPr lang="ru-RU" dirty="0"/>
          </a:p>
        </p:txBody>
      </p:sp>
      <p:sp>
        <p:nvSpPr>
          <p:cNvPr id="41" name="Стрелка вправо 40"/>
          <p:cNvSpPr/>
          <p:nvPr/>
        </p:nvSpPr>
        <p:spPr>
          <a:xfrm>
            <a:off x="4139952" y="1973982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4644008" y="1757958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гласование НМЦ на ГРБС, МРГ и т.д.</a:t>
            </a:r>
            <a:endParaRPr lang="ru-RU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4427984" y="4005064"/>
            <a:ext cx="2016224" cy="1152128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езависимая экспертиза обоснования НМЦ</a:t>
            </a:r>
            <a:endParaRPr lang="ru-RU" dirty="0"/>
          </a:p>
        </p:txBody>
      </p:sp>
      <p:sp>
        <p:nvSpPr>
          <p:cNvPr id="44" name="Двойная стрелка вверх/вниз 43"/>
          <p:cNvSpPr/>
          <p:nvPr/>
        </p:nvSpPr>
        <p:spPr>
          <a:xfrm>
            <a:off x="5292080" y="3301191"/>
            <a:ext cx="360040" cy="504056"/>
          </a:xfrm>
          <a:prstGeom prst="upDown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4427984" y="1412776"/>
            <a:ext cx="2016224" cy="2001366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3 млн.руб.</a:t>
            </a:r>
            <a:endParaRPr lang="ru-RU" b="1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4283968" y="3861048"/>
            <a:ext cx="2304256" cy="2304256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20 млн.руб</a:t>
            </a:r>
            <a:r>
              <a:rPr lang="ru-RU" dirty="0" smtClean="0">
                <a:solidFill>
                  <a:schemeClr val="tx1"/>
                </a:solidFill>
              </a:rPr>
              <a:t>.</a:t>
            </a:r>
            <a:endParaRPr lang="ru-RU" dirty="0"/>
          </a:p>
        </p:txBody>
      </p:sp>
      <p:sp>
        <p:nvSpPr>
          <p:cNvPr id="47" name="Стрелка вправо 46"/>
          <p:cNvSpPr/>
          <p:nvPr/>
        </p:nvSpPr>
        <p:spPr>
          <a:xfrm>
            <a:off x="6300192" y="1973982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Прямоугольник 47"/>
          <p:cNvSpPr/>
          <p:nvPr/>
        </p:nvSpPr>
        <p:spPr>
          <a:xfrm>
            <a:off x="6804248" y="1757958"/>
            <a:ext cx="2016224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убликация заказа (занесение в ЕАИСТ)</a:t>
            </a:r>
            <a:endParaRPr lang="ru-RU" dirty="0"/>
          </a:p>
        </p:txBody>
      </p:sp>
      <p:sp>
        <p:nvSpPr>
          <p:cNvPr id="49" name="Прямоугольник 48"/>
          <p:cNvSpPr/>
          <p:nvPr/>
        </p:nvSpPr>
        <p:spPr>
          <a:xfrm>
            <a:off x="323528" y="2780928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еречень источников</a:t>
            </a:r>
            <a:endParaRPr lang="ru-RU" sz="16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2483768" y="2766070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Методики расчета</a:t>
            </a:r>
            <a:endParaRPr lang="ru-RU" sz="1600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6804248" y="2766070"/>
            <a:ext cx="2016224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рограммное обеспечение</a:t>
            </a:r>
            <a:endParaRPr lang="ru-RU" sz="1600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4427984" y="5229200"/>
            <a:ext cx="2016224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Регламент предоставления док.</a:t>
            </a:r>
            <a:endParaRPr lang="ru-RU" sz="1600" dirty="0"/>
          </a:p>
        </p:txBody>
      </p:sp>
      <p:sp>
        <p:nvSpPr>
          <p:cNvPr id="53" name="Прямоугольник 52"/>
          <p:cNvSpPr/>
          <p:nvPr/>
        </p:nvSpPr>
        <p:spPr>
          <a:xfrm>
            <a:off x="4644008" y="2766070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оложения об РГ и МРГ</a:t>
            </a:r>
            <a:endParaRPr lang="ru-RU" sz="1600" dirty="0"/>
          </a:p>
        </p:txBody>
      </p:sp>
      <p:sp>
        <p:nvSpPr>
          <p:cNvPr id="54" name="Стрелка влево 53"/>
          <p:cNvSpPr/>
          <p:nvPr/>
        </p:nvSpPr>
        <p:spPr>
          <a:xfrm>
            <a:off x="2843808" y="4494262"/>
            <a:ext cx="1152128" cy="484632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5" name="Прямоугольник 54"/>
          <p:cNvSpPr/>
          <p:nvPr/>
        </p:nvSpPr>
        <p:spPr>
          <a:xfrm>
            <a:off x="539552" y="4422254"/>
            <a:ext cx="2232248" cy="1152128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Открытые источники информации</a:t>
            </a: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771800" y="4926310"/>
            <a:ext cx="136815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итоги 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проведенных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маркетинг.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исследован. + заключения</a:t>
            </a:r>
            <a:endParaRPr lang="ru-RU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7" name="Двойная стрелка вверх/вниз 56"/>
          <p:cNvSpPr/>
          <p:nvPr/>
        </p:nvSpPr>
        <p:spPr>
          <a:xfrm>
            <a:off x="827584" y="3342134"/>
            <a:ext cx="484632" cy="1008112"/>
          </a:xfrm>
          <a:prstGeom prst="upDown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Стрелка влево 57"/>
          <p:cNvSpPr/>
          <p:nvPr/>
        </p:nvSpPr>
        <p:spPr>
          <a:xfrm rot="5400000">
            <a:off x="719572" y="5610386"/>
            <a:ext cx="360040" cy="432048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/>
        </p:nvSpPr>
        <p:spPr>
          <a:xfrm>
            <a:off x="1373932" y="6015186"/>
            <a:ext cx="14401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«Портал 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поставщиков»</a:t>
            </a:r>
          </a:p>
        </p:txBody>
      </p:sp>
      <p:sp>
        <p:nvSpPr>
          <p:cNvPr id="60" name="TextBox 59"/>
          <p:cNvSpPr txBox="1"/>
          <p:nvPr/>
        </p:nvSpPr>
        <p:spPr>
          <a:xfrm>
            <a:off x="288032" y="6006430"/>
            <a:ext cx="118321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Статистика 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с ЕАИСТ</a:t>
            </a:r>
          </a:p>
        </p:txBody>
      </p:sp>
      <p:sp>
        <p:nvSpPr>
          <p:cNvPr id="61" name="Стрелка влево 60"/>
          <p:cNvSpPr/>
          <p:nvPr/>
        </p:nvSpPr>
        <p:spPr>
          <a:xfrm rot="5400000">
            <a:off x="1924472" y="5629622"/>
            <a:ext cx="368796" cy="402332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2" name="TextBox 61"/>
          <p:cNvSpPr txBox="1"/>
          <p:nvPr/>
        </p:nvSpPr>
        <p:spPr>
          <a:xfrm>
            <a:off x="1619672" y="3270126"/>
            <a:ext cx="15419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Цены ДЭПР в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рамках 1030-ПП и тарифы</a:t>
            </a:r>
          </a:p>
        </p:txBody>
      </p:sp>
      <p:sp>
        <p:nvSpPr>
          <p:cNvPr id="63" name="Стрелка влево 62"/>
          <p:cNvSpPr/>
          <p:nvPr/>
        </p:nvSpPr>
        <p:spPr>
          <a:xfrm rot="16200000">
            <a:off x="2195736" y="4062214"/>
            <a:ext cx="288032" cy="432048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4139952" y="3717032"/>
            <a:ext cx="4680520" cy="2664296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ru-RU" dirty="0"/>
          </a:p>
        </p:txBody>
      </p:sp>
      <p:sp>
        <p:nvSpPr>
          <p:cNvPr id="65" name="Прямоугольник 64"/>
          <p:cNvSpPr/>
          <p:nvPr/>
        </p:nvSpPr>
        <p:spPr>
          <a:xfrm>
            <a:off x="6804248" y="4077072"/>
            <a:ext cx="1872208" cy="50405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о экспертизе НМЦ поставок</a:t>
            </a:r>
            <a:endParaRPr lang="ru-RU" sz="1600" dirty="0"/>
          </a:p>
        </p:txBody>
      </p:sp>
      <p:sp>
        <p:nvSpPr>
          <p:cNvPr id="66" name="TextBox 65"/>
          <p:cNvSpPr txBox="1"/>
          <p:nvPr/>
        </p:nvSpPr>
        <p:spPr>
          <a:xfrm>
            <a:off x="7020272" y="3717032"/>
            <a:ext cx="15109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Организации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6804248" y="4653136"/>
            <a:ext cx="1872208" cy="50405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о экспертизе НМЦ работ (кроме строит.)</a:t>
            </a:r>
            <a:endParaRPr lang="ru-RU" sz="1600" dirty="0"/>
          </a:p>
        </p:txBody>
      </p:sp>
      <p:sp>
        <p:nvSpPr>
          <p:cNvPr id="68" name="Прямоугольник 67"/>
          <p:cNvSpPr/>
          <p:nvPr/>
        </p:nvSpPr>
        <p:spPr>
          <a:xfrm>
            <a:off x="6804248" y="5229200"/>
            <a:ext cx="1872208" cy="50405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о экспертизе НМЦ </a:t>
            </a:r>
            <a:r>
              <a:rPr lang="ru-RU" sz="1400" dirty="0" err="1" smtClean="0"/>
              <a:t>интелект.услуг</a:t>
            </a:r>
            <a:r>
              <a:rPr lang="ru-RU" sz="1400" dirty="0" smtClean="0"/>
              <a:t>.</a:t>
            </a:r>
            <a:endParaRPr lang="ru-RU" sz="1600" dirty="0"/>
          </a:p>
        </p:txBody>
      </p:sp>
      <p:sp>
        <p:nvSpPr>
          <p:cNvPr id="70" name="Прямоугольник 69"/>
          <p:cNvSpPr/>
          <p:nvPr/>
        </p:nvSpPr>
        <p:spPr>
          <a:xfrm>
            <a:off x="6804248" y="5805264"/>
            <a:ext cx="1872208" cy="50405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о экспертизе НМЦ </a:t>
            </a:r>
            <a:r>
              <a:rPr lang="en-US" sz="1400" dirty="0" smtClean="0"/>
              <a:t>IT-</a:t>
            </a:r>
            <a:r>
              <a:rPr lang="ru-RU" sz="1400" dirty="0" smtClean="0"/>
              <a:t>технологий</a:t>
            </a:r>
            <a:endParaRPr lang="ru-RU"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4" grpId="0" animBg="1"/>
      <p:bldP spid="55" grpId="0" animBg="1"/>
      <p:bldP spid="56" grpId="0"/>
      <p:bldP spid="57" grpId="0" animBg="1"/>
      <p:bldP spid="58" grpId="0" animBg="1"/>
      <p:bldP spid="59" grpId="0"/>
      <p:bldP spid="60" grpId="0"/>
      <p:bldP spid="61" grpId="0" animBg="1"/>
      <p:bldP spid="62" grpId="0"/>
      <p:bldP spid="63" grpId="0" animBg="1"/>
      <p:bldP spid="64" grpId="0" animBg="1"/>
      <p:bldP spid="65" grpId="0" animBg="1"/>
      <p:bldP spid="66" grpId="0"/>
      <p:bldP spid="67" grpId="0" animBg="1"/>
      <p:bldP spid="68" grpId="0" animBg="1"/>
      <p:bldP spid="7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льтернатива №3 (ГРБС)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361064" y="1809750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бор информации заказчиком </a:t>
            </a:r>
            <a:endParaRPr lang="ru-RU" dirty="0"/>
          </a:p>
        </p:txBody>
      </p:sp>
      <p:sp>
        <p:nvSpPr>
          <p:cNvPr id="8" name="Стрелка вправо 7"/>
          <p:cNvSpPr/>
          <p:nvPr/>
        </p:nvSpPr>
        <p:spPr>
          <a:xfrm>
            <a:off x="2017248" y="2025774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/>
        </p:nvSpPr>
        <p:spPr>
          <a:xfrm>
            <a:off x="2521304" y="1809750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асчет заказчиком НМЦ</a:t>
            </a:r>
            <a:endParaRPr lang="ru-RU" dirty="0"/>
          </a:p>
        </p:txBody>
      </p:sp>
      <p:sp>
        <p:nvSpPr>
          <p:cNvPr id="10" name="Стрелка вправо 9"/>
          <p:cNvSpPr/>
          <p:nvPr/>
        </p:nvSpPr>
        <p:spPr>
          <a:xfrm>
            <a:off x="4120338" y="2063874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4681544" y="1809750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гласование НМЦ на ГРБС, МРГ и т.д.</a:t>
            </a:r>
            <a:endParaRPr lang="ru-RU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4465520" y="3897982"/>
            <a:ext cx="2016224" cy="936104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езависимая экспертиза обоснования НМЦ</a:t>
            </a:r>
            <a:endParaRPr lang="ru-RU" dirty="0"/>
          </a:p>
        </p:txBody>
      </p:sp>
      <p:sp>
        <p:nvSpPr>
          <p:cNvPr id="13" name="Двойная стрелка вверх/вниз 12"/>
          <p:cNvSpPr/>
          <p:nvPr/>
        </p:nvSpPr>
        <p:spPr>
          <a:xfrm>
            <a:off x="5272466" y="3391083"/>
            <a:ext cx="360040" cy="504056"/>
          </a:xfrm>
          <a:prstGeom prst="upDown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4465520" y="1377702"/>
            <a:ext cx="2016224" cy="208823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3 млн.руб.</a:t>
            </a:r>
            <a:endParaRPr lang="ru-RU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4321504" y="3753966"/>
            <a:ext cx="2304256" cy="201622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20 млн.руб</a:t>
            </a:r>
            <a:r>
              <a:rPr lang="ru-RU" dirty="0" smtClean="0">
                <a:solidFill>
                  <a:schemeClr val="tx1"/>
                </a:solidFill>
              </a:rPr>
              <a:t>.</a:t>
            </a:r>
            <a:endParaRPr lang="ru-RU" dirty="0"/>
          </a:p>
        </p:txBody>
      </p:sp>
      <p:sp>
        <p:nvSpPr>
          <p:cNvPr id="16" name="Стрелка вправо 15"/>
          <p:cNvSpPr/>
          <p:nvPr/>
        </p:nvSpPr>
        <p:spPr>
          <a:xfrm>
            <a:off x="6337728" y="2025774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6841784" y="1809750"/>
            <a:ext cx="1983164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убликация заказа (занесение в ЕАИСТ)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361064" y="2817862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еречень источников</a:t>
            </a:r>
            <a:endParaRPr lang="ru-RU" sz="16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2521304" y="2817862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Методики расчета</a:t>
            </a:r>
            <a:endParaRPr lang="ru-RU" sz="16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6841784" y="2817862"/>
            <a:ext cx="1983164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рограммное обеспечение</a:t>
            </a:r>
            <a:endParaRPr lang="ru-RU" sz="16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465520" y="4906094"/>
            <a:ext cx="2016224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Регламент предоставления док.</a:t>
            </a:r>
            <a:endParaRPr lang="ru-RU" sz="16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4681544" y="2817862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оложения об РГ и МРГ</a:t>
            </a:r>
            <a:endParaRPr lang="ru-RU" sz="1600" dirty="0"/>
          </a:p>
        </p:txBody>
      </p:sp>
      <p:sp>
        <p:nvSpPr>
          <p:cNvPr id="23" name="Стрелка влево 22"/>
          <p:cNvSpPr/>
          <p:nvPr/>
        </p:nvSpPr>
        <p:spPr>
          <a:xfrm>
            <a:off x="2928926" y="4000504"/>
            <a:ext cx="1152128" cy="484632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357158" y="4143380"/>
            <a:ext cx="2520280" cy="1152128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Отраслевые справочники рекомендуемых цен (на сайтах ГРБС)</a:t>
            </a:r>
            <a:endParaRPr lang="ru-RU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857488" y="4429132"/>
            <a:ext cx="13681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итоги 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проведенных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маркетинг.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исследован.</a:t>
            </a:r>
            <a:endParaRPr lang="ru-RU" sz="1600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6" name="Двойная стрелка вверх/вниз 25"/>
          <p:cNvSpPr/>
          <p:nvPr/>
        </p:nvSpPr>
        <p:spPr>
          <a:xfrm>
            <a:off x="865120" y="3393926"/>
            <a:ext cx="349294" cy="678016"/>
          </a:xfrm>
          <a:prstGeom prst="upDown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лево 26"/>
          <p:cNvSpPr/>
          <p:nvPr/>
        </p:nvSpPr>
        <p:spPr>
          <a:xfrm rot="5400000">
            <a:off x="606906" y="5322392"/>
            <a:ext cx="504056" cy="432048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TextBox 27"/>
          <p:cNvSpPr txBox="1"/>
          <p:nvPr/>
        </p:nvSpPr>
        <p:spPr>
          <a:xfrm>
            <a:off x="1357290" y="6000768"/>
            <a:ext cx="144015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«Портал 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поставщиков»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247374" y="5790444"/>
            <a:ext cx="11876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Статистика </a:t>
            </a:r>
          </a:p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по ценам контрактов</a:t>
            </a:r>
          </a:p>
        </p:txBody>
      </p:sp>
      <p:sp>
        <p:nvSpPr>
          <p:cNvPr id="30" name="Стрелка влево 29"/>
          <p:cNvSpPr/>
          <p:nvPr/>
        </p:nvSpPr>
        <p:spPr>
          <a:xfrm rot="5400000">
            <a:off x="1789338" y="5424704"/>
            <a:ext cx="576064" cy="432048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TextBox 30"/>
          <p:cNvSpPr txBox="1"/>
          <p:nvPr/>
        </p:nvSpPr>
        <p:spPr>
          <a:xfrm>
            <a:off x="1714480" y="3357562"/>
            <a:ext cx="241472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Цены  устанавливаемые ДЭПР </a:t>
            </a:r>
          </a:p>
        </p:txBody>
      </p:sp>
      <p:sp>
        <p:nvSpPr>
          <p:cNvPr id="32" name="Стрелка влево 31"/>
          <p:cNvSpPr/>
          <p:nvPr/>
        </p:nvSpPr>
        <p:spPr>
          <a:xfrm rot="16200000">
            <a:off x="2215116" y="3714182"/>
            <a:ext cx="288032" cy="432048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4177488" y="3609950"/>
            <a:ext cx="4609354" cy="2376264"/>
          </a:xfrm>
          <a:prstGeom prst="rect">
            <a:avLst/>
          </a:prstGeom>
          <a:noFill/>
          <a:ln>
            <a:solidFill>
              <a:schemeClr val="accent2">
                <a:lumMod val="50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endParaRPr lang="ru-RU" dirty="0"/>
          </a:p>
        </p:txBody>
      </p:sp>
      <p:sp>
        <p:nvSpPr>
          <p:cNvPr id="34" name="TextBox 33"/>
          <p:cNvSpPr txBox="1"/>
          <p:nvPr/>
        </p:nvSpPr>
        <p:spPr>
          <a:xfrm>
            <a:off x="2714612" y="6000768"/>
            <a:ext cx="216024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>
                <a:solidFill>
                  <a:schemeClr val="accent2">
                    <a:lumMod val="75000"/>
                  </a:schemeClr>
                </a:solidFill>
              </a:rPr>
              <a:t>Статистика по ценам контрактов  из ЕАИСТ</a:t>
            </a:r>
          </a:p>
        </p:txBody>
      </p:sp>
      <p:sp>
        <p:nvSpPr>
          <p:cNvPr id="35" name="Стрелка влево 34"/>
          <p:cNvSpPr/>
          <p:nvPr/>
        </p:nvSpPr>
        <p:spPr>
          <a:xfrm rot="2839001">
            <a:off x="2566338" y="5428552"/>
            <a:ext cx="576064" cy="432048"/>
          </a:xfrm>
          <a:prstGeom prst="leftArrow">
            <a:avLst/>
          </a:prstGeom>
          <a:noFill/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6715140" y="4068522"/>
            <a:ext cx="2016224" cy="3600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ивлеченная ГРБС №1</a:t>
            </a:r>
            <a:endParaRPr lang="ru-RU" sz="1600" dirty="0"/>
          </a:p>
        </p:txBody>
      </p:sp>
      <p:sp>
        <p:nvSpPr>
          <p:cNvPr id="37" name="TextBox 36"/>
          <p:cNvSpPr txBox="1"/>
          <p:nvPr/>
        </p:nvSpPr>
        <p:spPr>
          <a:xfrm>
            <a:off x="7003172" y="3636474"/>
            <a:ext cx="16263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Организации*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6715140" y="4500570"/>
            <a:ext cx="2016224" cy="3600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Привлеченная ГРБС №2</a:t>
            </a:r>
            <a:endParaRPr lang="ru-RU" sz="1600" dirty="0"/>
          </a:p>
        </p:txBody>
      </p:sp>
      <p:sp>
        <p:nvSpPr>
          <p:cNvPr id="40" name="TextBox 39"/>
          <p:cNvSpPr txBox="1"/>
          <p:nvPr/>
        </p:nvSpPr>
        <p:spPr>
          <a:xfrm>
            <a:off x="7489856" y="4906094"/>
            <a:ext cx="34817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…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769776" y="5482158"/>
            <a:ext cx="20069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accent2">
                    <a:lumMod val="75000"/>
                  </a:schemeClr>
                </a:solidFill>
              </a:rPr>
              <a:t>Всего: от 20 – 30 орг.</a:t>
            </a:r>
            <a:endParaRPr lang="ru-RU" sz="1600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4" grpId="0" animBg="1"/>
      <p:bldP spid="25" grpId="0"/>
      <p:bldP spid="26" grpId="0" animBg="1"/>
      <p:bldP spid="27" grpId="0" animBg="1"/>
      <p:bldP spid="28" grpId="0"/>
      <p:bldP spid="29" grpId="0"/>
      <p:bldP spid="30" grpId="0" animBg="1"/>
      <p:bldP spid="31" grpId="0"/>
      <p:bldP spid="32" grpId="0" animBg="1"/>
      <p:bldP spid="33" grpId="0" animBg="1"/>
      <p:bldP spid="34" grpId="0"/>
      <p:bldP spid="35" grpId="0" animBg="1"/>
      <p:bldP spid="36" grpId="0" animBg="1"/>
      <p:bldP spid="37" grpId="0"/>
      <p:bldP spid="38" grpId="0" animBg="1"/>
      <p:bldP spid="40" grpId="0"/>
      <p:bldP spid="4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49238" y="1250082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Укрупненная оценка издержек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6" name="Таблица 25"/>
          <p:cNvGraphicFramePr>
            <a:graphicFrameLocks noGrp="1"/>
          </p:cNvGraphicFramePr>
          <p:nvPr/>
        </p:nvGraphicFramePr>
        <p:xfrm>
          <a:off x="285720" y="1643050"/>
          <a:ext cx="8572560" cy="489544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29090"/>
                <a:gridCol w="1500198"/>
                <a:gridCol w="1571636"/>
                <a:gridCol w="1571636"/>
              </a:tblGrid>
              <a:tr h="64807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Издержки</a:t>
                      </a:r>
                      <a:endParaRPr lang="ru-RU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Альтер. №1</a:t>
                      </a:r>
                      <a:r>
                        <a:rPr lang="en-US" dirty="0" smtClean="0"/>
                        <a:t> (</a:t>
                      </a:r>
                      <a:r>
                        <a:rPr lang="ru-RU" dirty="0" err="1" smtClean="0"/>
                        <a:t>созд</a:t>
                      </a:r>
                      <a:r>
                        <a:rPr lang="ru-RU" dirty="0" smtClean="0"/>
                        <a:t>.</a:t>
                      </a:r>
                      <a:r>
                        <a:rPr lang="ru-RU" baseline="0" dirty="0" smtClean="0"/>
                        <a:t> ГУ)</a:t>
                      </a:r>
                      <a:endParaRPr lang="ru-RU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Альтер.</a:t>
                      </a:r>
                      <a:r>
                        <a:rPr lang="ru-RU" baseline="0" dirty="0" smtClean="0"/>
                        <a:t> №2 (</a:t>
                      </a:r>
                      <a:r>
                        <a:rPr lang="ru-RU" baseline="0" dirty="0" err="1" smtClean="0"/>
                        <a:t>аутсор</a:t>
                      </a:r>
                      <a:r>
                        <a:rPr lang="ru-RU" baseline="0" dirty="0" smtClean="0"/>
                        <a:t>. ОИВ)</a:t>
                      </a:r>
                      <a:endParaRPr lang="ru-RU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Альтер.</a:t>
                      </a:r>
                      <a:r>
                        <a:rPr lang="ru-RU" baseline="0" dirty="0" smtClean="0"/>
                        <a:t> №3 (</a:t>
                      </a:r>
                      <a:r>
                        <a:rPr lang="ru-RU" baseline="0" dirty="0" err="1" smtClean="0"/>
                        <a:t>аутсор</a:t>
                      </a:r>
                      <a:r>
                        <a:rPr lang="ru-RU" baseline="0" dirty="0" smtClean="0"/>
                        <a:t>. ГРБС)</a:t>
                      </a:r>
                      <a:endParaRPr lang="ru-RU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оздание площадок</a:t>
                      </a:r>
                      <a:r>
                        <a:rPr lang="ru-RU" sz="1600" baseline="0" dirty="0" smtClean="0"/>
                        <a:t> для публикации рекомендуемых цен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aseline="0" dirty="0" smtClean="0"/>
                        <a:t>12,5 млн.руб.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aseline="0" dirty="0" smtClean="0"/>
                        <a:t>12,5 млн.руб.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-------</a:t>
                      </a:r>
                      <a:endParaRPr lang="ru-RU" sz="1600" dirty="0"/>
                    </a:p>
                  </a:txBody>
                  <a:tcPr anchor="ctr"/>
                </a:tc>
              </a:tr>
              <a:tr h="461744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одержание площадок для публикации отраслевых цен</a:t>
                      </a:r>
                      <a:r>
                        <a:rPr lang="ru-RU" sz="1600" baseline="0" dirty="0" smtClean="0"/>
                        <a:t>  (в том числе публикация отраслевых справочников на сайтах ГРБС) (ежегодно)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6</a:t>
                      </a:r>
                      <a:r>
                        <a:rPr lang="ru-RU" sz="1600" baseline="0" dirty="0" smtClean="0"/>
                        <a:t> млн.руб.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6</a:t>
                      </a:r>
                      <a:r>
                        <a:rPr lang="ru-RU" sz="1600" baseline="0" dirty="0" smtClean="0"/>
                        <a:t> млн.руб.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6</a:t>
                      </a:r>
                      <a:r>
                        <a:rPr lang="ru-RU" sz="1600" baseline="0" dirty="0" smtClean="0"/>
                        <a:t> млн.руб.</a:t>
                      </a:r>
                      <a:endParaRPr lang="ru-RU" sz="1600" dirty="0"/>
                    </a:p>
                  </a:txBody>
                  <a:tcPr anchor="ctr"/>
                </a:tc>
              </a:tr>
              <a:tr h="32572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оздание</a:t>
                      </a:r>
                      <a:r>
                        <a:rPr lang="ru-RU" sz="1600" baseline="0" dirty="0" smtClean="0"/>
                        <a:t> государственного учреждения  (единовременно)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5</a:t>
                      </a:r>
                      <a:r>
                        <a:rPr lang="ru-RU" sz="1600" baseline="0" dirty="0" smtClean="0"/>
                        <a:t> млн.руб.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------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------</a:t>
                      </a:r>
                      <a:endParaRPr lang="ru-RU" sz="1600" dirty="0"/>
                    </a:p>
                  </a:txBody>
                  <a:tcPr anchor="ctr"/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Содержание</a:t>
                      </a:r>
                      <a:r>
                        <a:rPr lang="ru-RU" sz="1600" baseline="0" dirty="0" smtClean="0"/>
                        <a:t> государственного учреждения (ежегодно)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70 млн.руб.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------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------</a:t>
                      </a:r>
                      <a:endParaRPr lang="ru-RU" sz="1600" dirty="0"/>
                    </a:p>
                  </a:txBody>
                  <a:tcPr anchor="ctr"/>
                </a:tc>
              </a:tr>
              <a:tr h="432048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Организация независимой экспертизы</a:t>
                      </a:r>
                      <a:r>
                        <a:rPr lang="ru-RU" sz="1600" baseline="0" dirty="0" smtClean="0"/>
                        <a:t> НМЦ заказов от 20 млн.руб. (ежегодно)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-----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75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dirty="0" smtClean="0"/>
                        <a:t>млн.руб.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90 млн.руб.</a:t>
                      </a:r>
                      <a:endParaRPr lang="ru-RU" sz="1600" dirty="0"/>
                    </a:p>
                  </a:txBody>
                  <a:tcPr anchor="ctr"/>
                </a:tc>
              </a:tr>
              <a:tr h="432048"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/>
                        <a:t>Общие единовременные издержки:</a:t>
                      </a:r>
                      <a:endParaRPr lang="ru-RU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27,5 млн.руб.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2,5 млн.руб.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-----</a:t>
                      </a:r>
                      <a:endParaRPr lang="ru-RU" sz="1600" b="1" dirty="0"/>
                    </a:p>
                  </a:txBody>
                  <a:tcPr anchor="ctr"/>
                </a:tc>
              </a:tr>
              <a:tr h="432048">
                <a:tc>
                  <a:txBody>
                    <a:bodyPr/>
                    <a:lstStyle/>
                    <a:p>
                      <a:pPr algn="r"/>
                      <a:r>
                        <a:rPr lang="ru-RU" sz="1800" b="1" dirty="0" smtClean="0"/>
                        <a:t>Общие ежегодные издержки:</a:t>
                      </a:r>
                      <a:endParaRPr lang="ru-RU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76 млн.руб.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81 млн.руб.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96 млн.руб.</a:t>
                      </a:r>
                      <a:endParaRPr lang="ru-RU" sz="1600" b="1" dirty="0"/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49238" y="1250082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Оценка альтернатив: метод «издержки-выгоды» (</a:t>
            </a:r>
            <a:r>
              <a:rPr lang="en-US" sz="2400" b="1" dirty="0" smtClean="0">
                <a:solidFill>
                  <a:schemeClr val="accent2">
                    <a:lumMod val="75000"/>
                  </a:schemeClr>
                </a:solidFill>
              </a:rPr>
              <a:t>cost-benefit)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57158" y="1785926"/>
          <a:ext cx="8454809" cy="46714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70554"/>
                <a:gridCol w="1338678"/>
                <a:gridCol w="1409135"/>
                <a:gridCol w="1240068"/>
                <a:gridCol w="1296374"/>
              </a:tblGrid>
              <a:tr h="648071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Альтернативы / критерии</a:t>
                      </a:r>
                      <a:endParaRPr lang="ru-RU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Ал.№0 (статус-кво)</a:t>
                      </a:r>
                      <a:endParaRPr lang="ru-RU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Ал.№1 (</a:t>
                      </a:r>
                      <a:r>
                        <a:rPr lang="ru-RU" dirty="0" err="1" smtClean="0"/>
                        <a:t>созд</a:t>
                      </a:r>
                      <a:r>
                        <a:rPr lang="ru-RU" dirty="0" smtClean="0"/>
                        <a:t>. ГУ)</a:t>
                      </a:r>
                      <a:endParaRPr lang="ru-RU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Ал.№2 (централ.)</a:t>
                      </a:r>
                      <a:endParaRPr lang="ru-RU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Ал.№3 (ГРБС)</a:t>
                      </a:r>
                      <a:endParaRPr lang="ru-RU" dirty="0"/>
                    </a:p>
                  </a:txBody>
                  <a:tcPr anchor="ctr">
                    <a:solidFill>
                      <a:schemeClr val="accent1">
                        <a:lumMod val="75000"/>
                      </a:schemeClr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Общие единовременные издержки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0</a:t>
                      </a:r>
                      <a:endParaRPr lang="ru-RU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/>
                        <a:t>27,5 млн.руб.</a:t>
                      </a:r>
                      <a:endParaRPr lang="ru-RU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2,5 </a:t>
                      </a:r>
                      <a:r>
                        <a:rPr lang="ru-RU" sz="1800" dirty="0" err="1" smtClean="0"/>
                        <a:t>млн.руб</a:t>
                      </a:r>
                      <a:endParaRPr lang="ru-RU" sz="1800" dirty="0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0</a:t>
                      </a:r>
                      <a:endParaRPr lang="ru-RU" sz="1800" dirty="0"/>
                    </a:p>
                  </a:txBody>
                  <a:tcPr anchor="ctr"/>
                </a:tc>
              </a:tr>
              <a:tr h="240784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Общие ежегодные издержки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17 млн.руб.</a:t>
                      </a:r>
                      <a:endParaRPr lang="ru-RU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76 млн.руб.</a:t>
                      </a:r>
                      <a:endParaRPr lang="ru-RU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81 млн.руб.</a:t>
                      </a:r>
                      <a:endParaRPr lang="ru-RU" sz="1800" dirty="0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96 млн.руб.</a:t>
                      </a:r>
                      <a:endParaRPr lang="ru-RU" sz="1800" dirty="0"/>
                    </a:p>
                  </a:txBody>
                  <a:tcPr anchor="ctr"/>
                </a:tc>
              </a:tr>
              <a:tr h="337552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оответствие политики</a:t>
                      </a:r>
                      <a:r>
                        <a:rPr lang="ru-RU" sz="1600" baseline="0" dirty="0" smtClean="0"/>
                        <a:t> </a:t>
                      </a:r>
                      <a:r>
                        <a:rPr lang="ru-RU" sz="1600" dirty="0" smtClean="0"/>
                        <a:t>сокращения</a:t>
                      </a:r>
                      <a:r>
                        <a:rPr lang="ru-RU" sz="1600" baseline="0" dirty="0" smtClean="0"/>
                        <a:t> числа служащих государственной сферы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0</a:t>
                      </a:r>
                      <a:endParaRPr lang="ru-RU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 smtClean="0"/>
                        <a:t> -  -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0</a:t>
                      </a:r>
                      <a:endParaRPr lang="ru-RU" sz="1800" dirty="0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0</a:t>
                      </a:r>
                      <a:endParaRPr lang="ru-RU" sz="1800" dirty="0"/>
                    </a:p>
                  </a:txBody>
                  <a:tcPr anchor="ctr"/>
                </a:tc>
              </a:tr>
              <a:tr h="325720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нижение коррупционных рисков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-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+ -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+</a:t>
                      </a:r>
                      <a:endParaRPr lang="ru-RU" sz="1800" dirty="0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-  -</a:t>
                      </a:r>
                      <a:endParaRPr lang="ru-RU" sz="2400" dirty="0"/>
                    </a:p>
                  </a:txBody>
                  <a:tcPr anchor="ctr"/>
                </a:tc>
              </a:tr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Соблюдение принципа отраслевой привязки (</a:t>
                      </a:r>
                      <a:r>
                        <a:rPr lang="ru-RU" sz="1600" dirty="0" err="1" smtClean="0"/>
                        <a:t>профильности</a:t>
                      </a:r>
                      <a:r>
                        <a:rPr lang="ru-RU" sz="1600" dirty="0" smtClean="0"/>
                        <a:t>)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/>
                        <a:t>-</a:t>
                      </a:r>
                      <a:endParaRPr lang="ru-RU" sz="24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0</a:t>
                      </a:r>
                      <a:endParaRPr lang="ru-RU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+</a:t>
                      </a:r>
                      <a:endParaRPr lang="ru-RU" sz="1800" dirty="0"/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/>
                        <a:t>+ +</a:t>
                      </a:r>
                      <a:endParaRPr lang="ru-RU" sz="1800" dirty="0"/>
                    </a:p>
                  </a:txBody>
                  <a:tcPr anchor="ctr"/>
                </a:tc>
              </a:tr>
              <a:tr h="432048"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/>
                        <a:t>Экономия</a:t>
                      </a:r>
                      <a:r>
                        <a:rPr lang="ru-RU" sz="1800" b="1" baseline="0" dirty="0" smtClean="0"/>
                        <a:t> от независимой экспертизы</a:t>
                      </a:r>
                      <a:endParaRPr lang="ru-RU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6 млрд.руб. 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14 млрд.руб. </a:t>
                      </a:r>
                      <a:endParaRPr lang="ru-RU" sz="16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/>
                        <a:t>14 млрд.руб.</a:t>
                      </a:r>
                    </a:p>
                  </a:txBody>
                  <a:tcPr anchor="ctr"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/>
                        <a:t>14 млрд.руб.</a:t>
                      </a:r>
                    </a:p>
                  </a:txBody>
                  <a:tcPr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Дополнительные меры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>
            <p:custDataLst>
              <p:tags r:id="rId4"/>
            </p:custDataLst>
          </p:nvPr>
        </p:nvSpPr>
        <p:spPr>
          <a:xfrm>
            <a:off x="285720" y="1714488"/>
            <a:ext cx="85725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Проблема 1: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ym typeface="Calibri"/>
              </a:rPr>
              <a:t>Отсутствие у ГРБС правовых оснований для привлечения независимых экспертных организаций для оценки обоснованности НМЦ заказов первого уровня</a:t>
            </a:r>
          </a:p>
        </p:txBody>
      </p:sp>
      <p:sp>
        <p:nvSpPr>
          <p:cNvPr id="8" name="Прямоугольник 7"/>
          <p:cNvSpPr/>
          <p:nvPr>
            <p:custDataLst>
              <p:tags r:id="rId5"/>
            </p:custDataLst>
          </p:nvPr>
        </p:nvSpPr>
        <p:spPr>
          <a:xfrm>
            <a:off x="285720" y="2571744"/>
            <a:ext cx="885828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Пути решения: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ym typeface="Calibri"/>
              </a:rPr>
              <a:t>Нормативно закрепить за ГРБС право привлекать независимые экспертные организации к оценке обоснованности НМЦ заказов первого уровня</a:t>
            </a:r>
            <a:endParaRPr lang="ru-RU" b="1" dirty="0">
              <a:sym typeface="Calibri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6"/>
            </p:custDataLst>
          </p:nvPr>
        </p:nvSpPr>
        <p:spPr>
          <a:xfrm>
            <a:off x="285720" y="3500438"/>
            <a:ext cx="86439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Проблема 2: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ym typeface="Calibri"/>
              </a:rPr>
              <a:t>Отсутствие в  ЕАИСТ функционала необходимого для мониторинга исполнения 68-ПП</a:t>
            </a:r>
            <a:endParaRPr lang="ru-RU" dirty="0">
              <a:sym typeface="Calibri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7"/>
            </p:custDataLst>
          </p:nvPr>
        </p:nvSpPr>
        <p:spPr>
          <a:xfrm>
            <a:off x="285720" y="4071942"/>
            <a:ext cx="857256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Пути решения: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ym typeface="Calibri"/>
              </a:rPr>
              <a:t>Расширить функционал ЕАИСТ, предусмотрев электронную форму шаблона протокола согласования НМЦ, заполняемую заказчиками в режиме </a:t>
            </a:r>
            <a:r>
              <a:rPr lang="en-US" b="1" dirty="0" smtClean="0">
                <a:sym typeface="Calibri"/>
              </a:rPr>
              <a:t>on-line</a:t>
            </a:r>
            <a:endParaRPr lang="ru-RU" b="1" dirty="0">
              <a:sym typeface="Calibri"/>
            </a:endParaRPr>
          </a:p>
        </p:txBody>
      </p:sp>
      <p:sp>
        <p:nvSpPr>
          <p:cNvPr id="11" name="Прямоугольник 10"/>
          <p:cNvSpPr/>
          <p:nvPr>
            <p:custDataLst>
              <p:tags r:id="rId8"/>
            </p:custDataLst>
          </p:nvPr>
        </p:nvSpPr>
        <p:spPr>
          <a:xfrm>
            <a:off x="285720" y="5000636"/>
            <a:ext cx="864399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Проблема 3:</a:t>
            </a: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ym typeface="Calibri"/>
              </a:rPr>
              <a:t>Неприменимость или сложность применения ряда методик утвержденных в 68-ПП, в частности расчета стоимости на НИР и НИОКР</a:t>
            </a:r>
            <a:endParaRPr lang="ru-RU" dirty="0">
              <a:sym typeface="Calibri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>
          <a:xfrm>
            <a:off x="285720" y="5929330"/>
            <a:ext cx="8643998" cy="648072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  <a:sym typeface="Calibri"/>
              </a:rPr>
              <a:t>Пути решения: </a:t>
            </a:r>
            <a:r>
              <a:rPr lang="ru-RU" b="1" dirty="0" smtClean="0">
                <a:sym typeface="Calibri"/>
              </a:rPr>
              <a:t>скорректировать методики, учитывая опыт их применения заказчиками, а также учитывая принятие проекта закона о ФКС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8" grpId="0"/>
      <p:bldP spid="9" grpId="0"/>
      <p:bldP spid="10" grpId="0"/>
      <p:bldP spid="11" grpId="0"/>
      <p:bldP spid="1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Объект 1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0418" name="think-cell Slide" r:id="rId18" imgW="360" imgH="360" progId="">
              <p:embed/>
            </p:oleObj>
          </a:graphicData>
        </a:graphic>
      </p:graphicFrame>
      <p:sp>
        <p:nvSpPr>
          <p:cNvPr id="23" name="Прямоугольник 2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400">
              <a:latin typeface="Calibri"/>
              <a:sym typeface="Calibri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3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3" name="TextBox 12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48058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СТРУКТУРА ПРЕЗЕНТАЦИИ</a:t>
            </a:r>
            <a:endParaRPr lang="ru-RU" sz="3200" b="1" dirty="0"/>
          </a:p>
        </p:txBody>
      </p:sp>
      <p:sp>
        <p:nvSpPr>
          <p:cNvPr id="19" name="Нашивка 18"/>
          <p:cNvSpPr/>
          <p:nvPr>
            <p:custDataLst>
              <p:tags r:id="rId5"/>
            </p:custDataLst>
          </p:nvPr>
        </p:nvSpPr>
        <p:spPr bwMode="gray">
          <a:xfrm>
            <a:off x="379412" y="1804987"/>
            <a:ext cx="4100512" cy="863600"/>
          </a:xfrm>
          <a:prstGeom prst="chevron">
            <a:avLst>
              <a:gd name="adj" fmla="val 18199"/>
            </a:avLst>
          </a:prstGeom>
          <a:solidFill>
            <a:srgbClr val="6F8DB9"/>
          </a:solidFill>
          <a:ln w="9525">
            <a:solidFill>
              <a:srgbClr val="4C6C9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376362" tIns="219075" rIns="1217612" bIns="217487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800" dirty="0" smtClean="0">
                <a:solidFill>
                  <a:schemeClr val="bg1"/>
                </a:solidFill>
                <a:latin typeface="Calibri"/>
                <a:sym typeface="Calibri"/>
              </a:rPr>
              <a:t>Резюме</a:t>
            </a:r>
            <a:endParaRPr lang="ru-RU" sz="2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1" name="Нашивка 20"/>
          <p:cNvSpPr/>
          <p:nvPr>
            <p:custDataLst>
              <p:tags r:id="rId6"/>
            </p:custDataLst>
          </p:nvPr>
        </p:nvSpPr>
        <p:spPr bwMode="gray">
          <a:xfrm>
            <a:off x="379412" y="2997200"/>
            <a:ext cx="4100512" cy="863600"/>
          </a:xfrm>
          <a:prstGeom prst="chevron">
            <a:avLst>
              <a:gd name="adj" fmla="val 18199"/>
            </a:avLst>
          </a:prstGeom>
          <a:solidFill>
            <a:srgbClr val="4C6C9C"/>
          </a:solidFill>
          <a:ln w="9525">
            <a:solidFill>
              <a:srgbClr val="4C6C9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46150" tIns="219075" rIns="788987" bIns="217487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800" dirty="0" smtClean="0">
                <a:solidFill>
                  <a:schemeClr val="bg1"/>
                </a:solidFill>
                <a:latin typeface="Calibri"/>
                <a:sym typeface="Calibri"/>
              </a:rPr>
              <a:t>Обоснование</a:t>
            </a:r>
            <a:endParaRPr lang="ru-RU" sz="2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2" name="Нашивка 21"/>
          <p:cNvSpPr/>
          <p:nvPr>
            <p:custDataLst>
              <p:tags r:id="rId7"/>
            </p:custDataLst>
          </p:nvPr>
        </p:nvSpPr>
        <p:spPr bwMode="gray">
          <a:xfrm>
            <a:off x="379412" y="4186237"/>
            <a:ext cx="4100512" cy="863600"/>
          </a:xfrm>
          <a:prstGeom prst="chevron">
            <a:avLst>
              <a:gd name="adj" fmla="val 18199"/>
            </a:avLst>
          </a:prstGeom>
          <a:solidFill>
            <a:srgbClr val="364D6E"/>
          </a:solidFill>
          <a:ln w="9525">
            <a:solidFill>
              <a:srgbClr val="4C6C9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508000" tIns="219075" rIns="349250" bIns="217487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800" dirty="0" smtClean="0">
                <a:solidFill>
                  <a:schemeClr val="bg1"/>
                </a:solidFill>
                <a:latin typeface="Calibri"/>
                <a:sym typeface="Calibri"/>
              </a:rPr>
              <a:t>Форма реализации</a:t>
            </a:r>
            <a:endParaRPr lang="ru-RU" sz="2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pic>
        <p:nvPicPr>
          <p:cNvPr id="25" name="Picture 1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" name="Левая фигурная скобка 29"/>
          <p:cNvSpPr/>
          <p:nvPr>
            <p:custDataLst>
              <p:tags r:id="rId9"/>
            </p:custDataLst>
          </p:nvPr>
        </p:nvSpPr>
        <p:spPr>
          <a:xfrm>
            <a:off x="4572000" y="1556792"/>
            <a:ext cx="1080120" cy="4824536"/>
          </a:xfrm>
          <a:prstGeom prst="leftBrace">
            <a:avLst>
              <a:gd name="adj1" fmla="val 45371"/>
              <a:gd name="adj2" fmla="val 38549"/>
            </a:avLst>
          </a:prstGeom>
          <a:ln w="28575">
            <a:solidFill>
              <a:schemeClr val="accent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ятиугольник 30"/>
          <p:cNvSpPr/>
          <p:nvPr>
            <p:custDataLst>
              <p:tags r:id="rId10"/>
            </p:custDataLst>
          </p:nvPr>
        </p:nvSpPr>
        <p:spPr bwMode="gray">
          <a:xfrm>
            <a:off x="5311775" y="1738312"/>
            <a:ext cx="3368675" cy="736600"/>
          </a:xfrm>
          <a:prstGeom prst="homePlate">
            <a:avLst>
              <a:gd name="adj" fmla="val 18103"/>
            </a:avLst>
          </a:prstGeom>
          <a:solidFill>
            <a:schemeClr val="accent2">
              <a:lumMod val="75000"/>
            </a:schemeClr>
          </a:solidFill>
          <a:ln w="9525">
            <a:solidFill>
              <a:srgbClr val="92473D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12800" tIns="185737" rIns="746125" bIns="185737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bg1"/>
                </a:solidFill>
                <a:latin typeface="Calibri"/>
                <a:sym typeface="Calibri"/>
              </a:rPr>
              <a:t>Актуальность</a:t>
            </a:r>
            <a:endParaRPr lang="ru-RU" sz="24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2" name="Пятиугольник 31"/>
          <p:cNvSpPr/>
          <p:nvPr>
            <p:custDataLst>
              <p:tags r:id="rId11"/>
            </p:custDataLst>
          </p:nvPr>
        </p:nvSpPr>
        <p:spPr bwMode="gray">
          <a:xfrm>
            <a:off x="5311775" y="2603500"/>
            <a:ext cx="3368675" cy="754062"/>
          </a:xfrm>
          <a:prstGeom prst="homePlate">
            <a:avLst>
              <a:gd name="adj" fmla="val 18316"/>
            </a:avLst>
          </a:prstGeom>
          <a:solidFill>
            <a:srgbClr val="AF4D3A"/>
          </a:solidFill>
          <a:ln w="9525">
            <a:solidFill>
              <a:srgbClr val="4C6C9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00025" tIns="193675" rIns="131762" bIns="195262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bg1"/>
                </a:solidFill>
                <a:latin typeface="Calibri"/>
                <a:sym typeface="Calibri"/>
              </a:rPr>
              <a:t>Анализ регулирования</a:t>
            </a:r>
            <a:endParaRPr lang="ru-RU" sz="24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3" name="Пятиугольник 32"/>
          <p:cNvSpPr/>
          <p:nvPr>
            <p:custDataLst>
              <p:tags r:id="rId12"/>
            </p:custDataLst>
          </p:nvPr>
        </p:nvSpPr>
        <p:spPr bwMode="gray">
          <a:xfrm>
            <a:off x="5292725" y="3506787"/>
            <a:ext cx="3368675" cy="755650"/>
          </a:xfrm>
          <a:prstGeom prst="homePlate">
            <a:avLst>
              <a:gd name="adj" fmla="val 18277"/>
            </a:avLst>
          </a:prstGeom>
          <a:solidFill>
            <a:srgbClr val="98754E"/>
          </a:solidFill>
          <a:ln w="9525">
            <a:solidFill>
              <a:srgbClr val="4C6C9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7950" tIns="195262" rIns="114300" bIns="195262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bg1"/>
                </a:solidFill>
                <a:latin typeface="Calibri"/>
                <a:sym typeface="Calibri"/>
              </a:rPr>
              <a:t>Выявленные проблемы</a:t>
            </a:r>
            <a:endParaRPr lang="ru-RU" sz="24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4" name="Пятиугольник 33"/>
          <p:cNvSpPr/>
          <p:nvPr>
            <p:custDataLst>
              <p:tags r:id="rId13"/>
            </p:custDataLst>
          </p:nvPr>
        </p:nvSpPr>
        <p:spPr bwMode="auto">
          <a:xfrm>
            <a:off x="5292725" y="4419600"/>
            <a:ext cx="3368675" cy="755650"/>
          </a:xfrm>
          <a:prstGeom prst="homePlate">
            <a:avLst>
              <a:gd name="adj" fmla="val 18277"/>
            </a:avLst>
          </a:prstGeom>
          <a:solidFill>
            <a:srgbClr val="C59F7A"/>
          </a:solidFill>
          <a:ln w="9525">
            <a:solidFill>
              <a:srgbClr val="4C6C9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62000" tIns="195262" rIns="695325" bIns="195262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tx1"/>
                </a:solidFill>
                <a:latin typeface="Calibri"/>
                <a:sym typeface="Calibri"/>
              </a:rPr>
              <a:t>Альтернативы</a:t>
            </a:r>
            <a:endParaRPr lang="ru-RU" sz="2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35" name="Пятиугольник 34"/>
          <p:cNvSpPr/>
          <p:nvPr>
            <p:custDataLst>
              <p:tags r:id="rId14"/>
            </p:custDataLst>
          </p:nvPr>
        </p:nvSpPr>
        <p:spPr bwMode="auto">
          <a:xfrm>
            <a:off x="5292725" y="5338762"/>
            <a:ext cx="3368675" cy="755650"/>
          </a:xfrm>
          <a:prstGeom prst="homePlate">
            <a:avLst>
              <a:gd name="adj" fmla="val 18277"/>
            </a:avLst>
          </a:prstGeom>
          <a:solidFill>
            <a:srgbClr val="C6AB8E"/>
          </a:solidFill>
          <a:ln w="9525">
            <a:solidFill>
              <a:srgbClr val="4C6C9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363537" tIns="195262" rIns="296862" bIns="195262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solidFill>
                  <a:schemeClr val="tx1"/>
                </a:solidFill>
                <a:latin typeface="Calibri"/>
                <a:sym typeface="Calibri"/>
              </a:rPr>
              <a:t>Оценка альтернатив</a:t>
            </a:r>
            <a:endParaRPr lang="ru-RU" sz="2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6" name="Нашивка 15"/>
          <p:cNvSpPr/>
          <p:nvPr>
            <p:custDataLst>
              <p:tags r:id="rId15"/>
            </p:custDataLst>
          </p:nvPr>
        </p:nvSpPr>
        <p:spPr bwMode="gray">
          <a:xfrm>
            <a:off x="379412" y="5445125"/>
            <a:ext cx="4100512" cy="863600"/>
          </a:xfrm>
          <a:prstGeom prst="chevron">
            <a:avLst>
              <a:gd name="adj" fmla="val 18199"/>
            </a:avLst>
          </a:prstGeom>
          <a:solidFill>
            <a:srgbClr val="364D6E"/>
          </a:solidFill>
          <a:ln w="9525">
            <a:solidFill>
              <a:srgbClr val="4C6C9C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06437" tIns="4762" rIns="549275" bIns="4762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2800" dirty="0" smtClean="0">
                <a:solidFill>
                  <a:schemeClr val="bg1"/>
                </a:solidFill>
                <a:latin typeface="Calibri"/>
                <a:sym typeface="Calibri"/>
              </a:rPr>
              <a:t>Проблемы проведения ОРВ</a:t>
            </a:r>
            <a:endParaRPr lang="ru-RU" sz="2800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1" grpId="0" animBg="1"/>
      <p:bldP spid="22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16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251530" y="2635180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бор информации заказчиком </a:t>
            </a:r>
            <a:endParaRPr lang="ru-RU" dirty="0"/>
          </a:p>
        </p:txBody>
      </p:sp>
      <p:sp>
        <p:nvSpPr>
          <p:cNvPr id="7" name="Стрелка вправо 6"/>
          <p:cNvSpPr/>
          <p:nvPr/>
        </p:nvSpPr>
        <p:spPr>
          <a:xfrm>
            <a:off x="1907714" y="2851204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2411770" y="2635180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асчет заказчиком НМЦ</a:t>
            </a:r>
            <a:endParaRPr lang="ru-RU" dirty="0"/>
          </a:p>
        </p:txBody>
      </p:sp>
      <p:sp>
        <p:nvSpPr>
          <p:cNvPr id="9" name="Стрелка вправо 8"/>
          <p:cNvSpPr/>
          <p:nvPr/>
        </p:nvSpPr>
        <p:spPr>
          <a:xfrm>
            <a:off x="4067954" y="2851204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4572010" y="2635180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гласование НМЦ на ГРБС, МРГ и т.д.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4355986" y="4723412"/>
            <a:ext cx="2016224" cy="936104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езависимая экспертиза обоснования НМЦ</a:t>
            </a:r>
            <a:endParaRPr lang="ru-RU" dirty="0"/>
          </a:p>
        </p:txBody>
      </p:sp>
      <p:sp>
        <p:nvSpPr>
          <p:cNvPr id="12" name="Двойная стрелка вверх/вниз 11"/>
          <p:cNvSpPr/>
          <p:nvPr/>
        </p:nvSpPr>
        <p:spPr>
          <a:xfrm>
            <a:off x="5220082" y="4178413"/>
            <a:ext cx="360040" cy="504056"/>
          </a:xfrm>
          <a:prstGeom prst="upDown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Прямоугольник 12"/>
          <p:cNvSpPr/>
          <p:nvPr/>
        </p:nvSpPr>
        <p:spPr>
          <a:xfrm>
            <a:off x="4355986" y="2203132"/>
            <a:ext cx="2016224" cy="208823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3 млн.руб.</a:t>
            </a:r>
            <a:endParaRPr lang="ru-RU" b="1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211970" y="4579396"/>
            <a:ext cx="2304256" cy="201622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50 млн.руб</a:t>
            </a:r>
            <a:r>
              <a:rPr lang="ru-RU" dirty="0" smtClean="0">
                <a:solidFill>
                  <a:schemeClr val="tx1"/>
                </a:solidFill>
              </a:rPr>
              <a:t>.</a:t>
            </a:r>
            <a:endParaRPr lang="ru-RU" dirty="0"/>
          </a:p>
        </p:txBody>
      </p:sp>
      <p:sp>
        <p:nvSpPr>
          <p:cNvPr id="15" name="Стрелка вправо 14"/>
          <p:cNvSpPr/>
          <p:nvPr/>
        </p:nvSpPr>
        <p:spPr>
          <a:xfrm>
            <a:off x="6228194" y="2851204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6732250" y="2635180"/>
            <a:ext cx="2088232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убликация заказа (занесение в ЕАИСТ)</a:t>
            </a:r>
            <a:endParaRPr lang="ru-RU" dirty="0"/>
          </a:p>
        </p:txBody>
      </p:sp>
      <p:sp>
        <p:nvSpPr>
          <p:cNvPr id="18" name="Прямоугольник 17"/>
          <p:cNvSpPr/>
          <p:nvPr/>
        </p:nvSpPr>
        <p:spPr>
          <a:xfrm>
            <a:off x="251530" y="3643292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еречень источников</a:t>
            </a:r>
            <a:endParaRPr lang="ru-RU" sz="1600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2411770" y="3643292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Методики расчета</a:t>
            </a:r>
            <a:endParaRPr lang="ru-RU" sz="1600" dirty="0"/>
          </a:p>
        </p:txBody>
      </p:sp>
      <p:sp>
        <p:nvSpPr>
          <p:cNvPr id="20" name="Прямоугольник 19"/>
          <p:cNvSpPr/>
          <p:nvPr/>
        </p:nvSpPr>
        <p:spPr>
          <a:xfrm>
            <a:off x="6732250" y="3643292"/>
            <a:ext cx="2088232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рограммное обеспечение</a:t>
            </a:r>
            <a:endParaRPr lang="ru-RU" sz="1600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4355986" y="5731524"/>
            <a:ext cx="2016224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Регламент предоставления док.</a:t>
            </a:r>
            <a:endParaRPr lang="ru-RU" sz="1600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4572010" y="3643292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оложения об РГ и МРГ</a:t>
            </a:r>
            <a:endParaRPr lang="ru-RU" sz="1600" dirty="0"/>
          </a:p>
        </p:txBody>
      </p:sp>
      <p:sp>
        <p:nvSpPr>
          <p:cNvPr id="24" name="Прямоугольник 23"/>
          <p:cNvSpPr/>
          <p:nvPr/>
        </p:nvSpPr>
        <p:spPr>
          <a:xfrm>
            <a:off x="611570" y="6235580"/>
            <a:ext cx="3096344" cy="3600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Снизить планку до 20 млн.руб.</a:t>
            </a:r>
            <a:endParaRPr lang="ru-RU" sz="1600" dirty="0"/>
          </a:p>
        </p:txBody>
      </p:sp>
      <p:sp>
        <p:nvSpPr>
          <p:cNvPr id="25" name="Стрелка вправо 24"/>
          <p:cNvSpPr/>
          <p:nvPr/>
        </p:nvSpPr>
        <p:spPr>
          <a:xfrm>
            <a:off x="3779922" y="5659516"/>
            <a:ext cx="360040" cy="484632"/>
          </a:xfrm>
          <a:prstGeom prst="rightArrow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/>
          <p:cNvSpPr/>
          <p:nvPr/>
        </p:nvSpPr>
        <p:spPr>
          <a:xfrm>
            <a:off x="611570" y="5731524"/>
            <a:ext cx="3096344" cy="3600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ривлечь дополнительные орг.</a:t>
            </a:r>
            <a:endParaRPr lang="ru-RU" sz="1600" dirty="0"/>
          </a:p>
        </p:txBody>
      </p:sp>
      <p:sp>
        <p:nvSpPr>
          <p:cNvPr id="27" name="Стрелка вправо 26"/>
          <p:cNvSpPr/>
          <p:nvPr/>
        </p:nvSpPr>
        <p:spPr>
          <a:xfrm>
            <a:off x="3779922" y="6235580"/>
            <a:ext cx="360040" cy="484632"/>
          </a:xfrm>
          <a:prstGeom prst="rightArrow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право 28"/>
          <p:cNvSpPr/>
          <p:nvPr/>
        </p:nvSpPr>
        <p:spPr>
          <a:xfrm>
            <a:off x="3779922" y="5155460"/>
            <a:ext cx="360040" cy="484632"/>
          </a:xfrm>
          <a:prstGeom prst="rightArrow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611570" y="5227468"/>
            <a:ext cx="3096344" cy="36004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убликовать результаты </a:t>
            </a:r>
            <a:r>
              <a:rPr lang="ru-RU" sz="1600" dirty="0" err="1" smtClean="0"/>
              <a:t>эксп</a:t>
            </a:r>
            <a:r>
              <a:rPr lang="ru-RU" sz="1600" dirty="0" smtClean="0"/>
              <a:t>.</a:t>
            </a:r>
            <a:endParaRPr lang="ru-RU" sz="1600" dirty="0"/>
          </a:p>
        </p:txBody>
      </p:sp>
      <p:sp>
        <p:nvSpPr>
          <p:cNvPr id="33" name="Стрелка вправо 32"/>
          <p:cNvSpPr/>
          <p:nvPr/>
        </p:nvSpPr>
        <p:spPr>
          <a:xfrm rot="5400000">
            <a:off x="889890" y="2140836"/>
            <a:ext cx="360040" cy="484632"/>
          </a:xfrm>
          <a:prstGeom prst="rightArrow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179522" y="834980"/>
            <a:ext cx="2304256" cy="129614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Обязать в приоритетном порядке использовать цены из ЕАИСТ и опубликован.</a:t>
            </a:r>
          </a:p>
          <a:p>
            <a:pPr algn="ctr"/>
            <a:r>
              <a:rPr lang="ru-RU" sz="1600" dirty="0" smtClean="0"/>
              <a:t>цены </a:t>
            </a:r>
            <a:r>
              <a:rPr lang="ru-RU" sz="1600" dirty="0" err="1" smtClean="0"/>
              <a:t>эксперт.орг</a:t>
            </a:r>
            <a:r>
              <a:rPr lang="ru-RU" sz="1600" dirty="0" smtClean="0"/>
              <a:t>.</a:t>
            </a:r>
            <a:endParaRPr lang="ru-RU" sz="1600" dirty="0"/>
          </a:p>
        </p:txBody>
      </p:sp>
      <p:sp>
        <p:nvSpPr>
          <p:cNvPr id="35" name="Стрелка вправо 34"/>
          <p:cNvSpPr/>
          <p:nvPr/>
        </p:nvSpPr>
        <p:spPr>
          <a:xfrm rot="5400000">
            <a:off x="7658642" y="2140836"/>
            <a:ext cx="360040" cy="484632"/>
          </a:xfrm>
          <a:prstGeom prst="rightArrow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6660242" y="834980"/>
            <a:ext cx="2304256" cy="129614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Расширить функционал: дополнить шаблоном протокола, ввести рекомендуемые цены </a:t>
            </a:r>
            <a:endParaRPr lang="ru-RU" sz="1600" dirty="0"/>
          </a:p>
        </p:txBody>
      </p:sp>
      <p:sp>
        <p:nvSpPr>
          <p:cNvPr id="37" name="Стрелка вправо 36"/>
          <p:cNvSpPr/>
          <p:nvPr/>
        </p:nvSpPr>
        <p:spPr>
          <a:xfrm rot="5400000">
            <a:off x="5210370" y="1780796"/>
            <a:ext cx="360040" cy="484632"/>
          </a:xfrm>
          <a:prstGeom prst="rightArrow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рямоугольник 37"/>
          <p:cNvSpPr/>
          <p:nvPr/>
        </p:nvSpPr>
        <p:spPr>
          <a:xfrm>
            <a:off x="4644018" y="762972"/>
            <a:ext cx="1512168" cy="1008112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Разрешить привлекать независимых экспертов</a:t>
            </a:r>
            <a:endParaRPr lang="ru-RU" sz="1600" dirty="0"/>
          </a:p>
        </p:txBody>
      </p:sp>
      <p:sp>
        <p:nvSpPr>
          <p:cNvPr id="39" name="Стрелка вправо 38"/>
          <p:cNvSpPr/>
          <p:nvPr/>
        </p:nvSpPr>
        <p:spPr>
          <a:xfrm rot="5400000">
            <a:off x="3266154" y="2140836"/>
            <a:ext cx="360039" cy="484632"/>
          </a:xfrm>
          <a:prstGeom prst="rightArrow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2627794" y="834980"/>
            <a:ext cx="1512168" cy="129614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Скорректировать методики расчета</a:t>
            </a:r>
            <a:endParaRPr lang="ru-RU" sz="1600" dirty="0"/>
          </a:p>
        </p:txBody>
      </p:sp>
      <p:sp>
        <p:nvSpPr>
          <p:cNvPr id="41" name="Стрелка вправо 40"/>
          <p:cNvSpPr/>
          <p:nvPr/>
        </p:nvSpPr>
        <p:spPr>
          <a:xfrm>
            <a:off x="3779922" y="4507388"/>
            <a:ext cx="360040" cy="484632"/>
          </a:xfrm>
          <a:prstGeom prst="rightArrow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2" name="Прямоугольник 41"/>
          <p:cNvSpPr/>
          <p:nvPr/>
        </p:nvSpPr>
        <p:spPr>
          <a:xfrm>
            <a:off x="611570" y="4291364"/>
            <a:ext cx="3096344" cy="792088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редусмотреть </a:t>
            </a:r>
            <a:r>
              <a:rPr lang="ru-RU" sz="1600" dirty="0" err="1" smtClean="0"/>
              <a:t>возм</a:t>
            </a:r>
            <a:r>
              <a:rPr lang="ru-RU" sz="1600" dirty="0" smtClean="0"/>
              <a:t>. продления сроков проведения эксперт. (по необходимости) </a:t>
            </a:r>
            <a:endParaRPr lang="ru-RU" sz="1600" dirty="0"/>
          </a:p>
        </p:txBody>
      </p:sp>
      <p:sp>
        <p:nvSpPr>
          <p:cNvPr id="44" name="TextBox 43"/>
          <p:cNvSpPr txBox="1"/>
          <p:nvPr>
            <p:custDataLst>
              <p:tags r:id="rId1"/>
            </p:custDataLst>
          </p:nvPr>
        </p:nvSpPr>
        <p:spPr>
          <a:xfrm>
            <a:off x="285720" y="285728"/>
            <a:ext cx="41434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/>
              <a:t>ФОРМА РЕАЛИЗАЦИИ</a:t>
            </a:r>
            <a:endParaRPr lang="ru-RU" sz="3200" b="1" dirty="0"/>
          </a:p>
        </p:txBody>
      </p:sp>
      <p:pic>
        <p:nvPicPr>
          <p:cNvPr id="45" name="Picture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001024" y="5715016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29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Мера - акт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251520" y="260648"/>
            <a:ext cx="411664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ФОРМА РЕАЛИЗАЦИИ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Прямоугольник 12"/>
          <p:cNvSpPr/>
          <p:nvPr/>
        </p:nvSpPr>
        <p:spPr>
          <a:xfrm>
            <a:off x="357158" y="1714488"/>
            <a:ext cx="5500726" cy="64294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dirty="0" smtClean="0">
                <a:latin typeface="Times New Roman"/>
                <a:ea typeface="Times New Roman"/>
              </a:rPr>
              <a:t>Снижение границы обязательного проведения экспертизы НМЦ заказа до 20 млн.руб.</a:t>
            </a:r>
            <a:endParaRPr lang="ru-RU" sz="1600" dirty="0">
              <a:latin typeface="Times New Roman"/>
              <a:ea typeface="Times New Roman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57158" y="2428868"/>
            <a:ext cx="5500726" cy="35719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dirty="0" smtClean="0">
                <a:latin typeface="Times New Roman"/>
                <a:ea typeface="Times New Roman"/>
              </a:rPr>
              <a:t>Изменение шаблона протокола согласования НМЦ</a:t>
            </a:r>
            <a:endParaRPr lang="ru-RU" sz="1600" dirty="0">
              <a:latin typeface="Times New Roman"/>
              <a:ea typeface="Times New Roman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57158" y="2857496"/>
            <a:ext cx="5500726" cy="35719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dirty="0" smtClean="0">
                <a:latin typeface="Times New Roman"/>
                <a:ea typeface="Times New Roman"/>
              </a:rPr>
              <a:t>Корректировка методик расчета НМЦ</a:t>
            </a:r>
            <a:endParaRPr lang="ru-RU" sz="1600" dirty="0">
              <a:latin typeface="Times New Roman"/>
              <a:ea typeface="Times New Roman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57158" y="3286124"/>
            <a:ext cx="5500726" cy="64294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dirty="0" smtClean="0">
                <a:latin typeface="Times New Roman"/>
                <a:ea typeface="Times New Roman"/>
              </a:rPr>
              <a:t>Определение приоритетности источников информации при формировании НМЦ</a:t>
            </a:r>
            <a:endParaRPr lang="ru-RU" sz="1600" dirty="0">
              <a:latin typeface="Times New Roman"/>
              <a:ea typeface="Times New Roman"/>
            </a:endParaRPr>
          </a:p>
        </p:txBody>
      </p:sp>
      <p:sp>
        <p:nvSpPr>
          <p:cNvPr id="17" name="Правая фигурная скобка 16"/>
          <p:cNvSpPr/>
          <p:nvPr/>
        </p:nvSpPr>
        <p:spPr>
          <a:xfrm>
            <a:off x="5857884" y="1643050"/>
            <a:ext cx="500066" cy="2428892"/>
          </a:xfrm>
          <a:prstGeom prst="rightBrace">
            <a:avLst>
              <a:gd name="adj1" fmla="val 99761"/>
              <a:gd name="adj2" fmla="val 50000"/>
            </a:avLst>
          </a:prstGeom>
          <a:ln w="57150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/>
        </p:nvSpPr>
        <p:spPr>
          <a:xfrm>
            <a:off x="6429388" y="2571744"/>
            <a:ext cx="2375971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Внесение изменений </a:t>
            </a:r>
          </a:p>
          <a:p>
            <a:pPr algn="ctr"/>
            <a:r>
              <a:rPr lang="ru-RU" b="1" dirty="0" smtClean="0"/>
              <a:t>в 68-ПП (ДЭПР)</a:t>
            </a:r>
            <a:endParaRPr lang="ru-RU" b="1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357158" y="4286256"/>
            <a:ext cx="5500726" cy="64294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dirty="0" smtClean="0">
                <a:latin typeface="Times New Roman"/>
                <a:ea typeface="Times New Roman"/>
              </a:rPr>
              <a:t>Привлечение дополнительного числа экспертных организаций</a:t>
            </a:r>
            <a:endParaRPr lang="ru-RU" sz="1600" dirty="0">
              <a:latin typeface="Times New Roman"/>
              <a:ea typeface="Times New Roman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57158" y="5143512"/>
            <a:ext cx="5500726" cy="64294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dirty="0" smtClean="0">
                <a:latin typeface="Times New Roman"/>
                <a:ea typeface="Times New Roman"/>
              </a:rPr>
              <a:t>Публикация экспертных заключений и среднерыночных цен независимыми организациями</a:t>
            </a:r>
            <a:endParaRPr lang="ru-RU" sz="1600" dirty="0">
              <a:latin typeface="Times New Roman"/>
              <a:ea typeface="Times New Roman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57158" y="5857892"/>
            <a:ext cx="5500726" cy="642942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dirty="0" smtClean="0">
                <a:latin typeface="Times New Roman"/>
                <a:ea typeface="Times New Roman"/>
              </a:rPr>
              <a:t>Внедрение практики продления сроков экспертизы в случае необходимости</a:t>
            </a:r>
            <a:endParaRPr lang="ru-RU" sz="1600" dirty="0">
              <a:latin typeface="Times New Roman"/>
              <a:ea typeface="Times New Roman"/>
            </a:endParaRPr>
          </a:p>
        </p:txBody>
      </p:sp>
      <p:sp>
        <p:nvSpPr>
          <p:cNvPr id="22" name="Правая фигурная скобка 21"/>
          <p:cNvSpPr/>
          <p:nvPr/>
        </p:nvSpPr>
        <p:spPr>
          <a:xfrm>
            <a:off x="5929322" y="5143512"/>
            <a:ext cx="500066" cy="1428760"/>
          </a:xfrm>
          <a:prstGeom prst="rightBrace">
            <a:avLst>
              <a:gd name="adj1" fmla="val 99761"/>
              <a:gd name="adj2" fmla="val 50000"/>
            </a:avLst>
          </a:prstGeom>
          <a:ln w="57150"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TextBox 22"/>
          <p:cNvSpPr txBox="1"/>
          <p:nvPr/>
        </p:nvSpPr>
        <p:spPr>
          <a:xfrm>
            <a:off x="6500826" y="5500702"/>
            <a:ext cx="23759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Условия контракта с ДЭПР</a:t>
            </a:r>
            <a:endParaRPr lang="ru-RU" b="1" dirty="0"/>
          </a:p>
        </p:txBody>
      </p:sp>
      <p:sp>
        <p:nvSpPr>
          <p:cNvPr id="24" name="TextBox 23"/>
          <p:cNvSpPr txBox="1"/>
          <p:nvPr/>
        </p:nvSpPr>
        <p:spPr>
          <a:xfrm>
            <a:off x="6357950" y="4286256"/>
            <a:ext cx="237597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Приказ ДЭПР о проведении конкурса</a:t>
            </a:r>
            <a:endParaRPr lang="ru-RU" b="1" dirty="0"/>
          </a:p>
        </p:txBody>
      </p:sp>
      <p:sp>
        <p:nvSpPr>
          <p:cNvPr id="27" name="Прямоугольник 26"/>
          <p:cNvSpPr/>
          <p:nvPr/>
        </p:nvSpPr>
        <p:spPr>
          <a:xfrm>
            <a:off x="1928794" y="3000372"/>
            <a:ext cx="4857784" cy="2214578"/>
          </a:xfrm>
          <a:prstGeom prst="rect">
            <a:avLst/>
          </a:prstGeom>
          <a:solidFill>
            <a:schemeClr val="bg1"/>
          </a:solidFill>
          <a:ln w="76200" cmpd="db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Расширение функционала ЕАИСТ реализуется посредством издания внутреннего приказа Департамента города Москвы по конкурентной политике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18" grpId="0"/>
      <p:bldP spid="19" grpId="0" animBg="1"/>
      <p:bldP spid="20" grpId="0" animBg="1"/>
      <p:bldP spid="21" grpId="0" animBg="1"/>
      <p:bldP spid="22" grpId="0" animBg="1"/>
      <p:bldP spid="23" grpId="0"/>
      <p:bldP spid="24" grpId="0"/>
      <p:bldP spid="2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4210" name="think-cell Slide" r:id="rId12" imgW="360" imgH="360" progId="">
              <p:embed/>
            </p:oleObj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>
              <a:latin typeface="Calibri"/>
              <a:sym typeface="Calibri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Проблемы, с которыми столкнулась ПК в ходе проведения ОРВ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564410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ПРОБЛЕМЫ ПРОВЕДЕНИЯ ОРВ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ятиугольник 6"/>
          <p:cNvSpPr/>
          <p:nvPr>
            <p:custDataLst>
              <p:tags r:id="rId6"/>
            </p:custDataLst>
          </p:nvPr>
        </p:nvSpPr>
        <p:spPr bwMode="auto">
          <a:xfrm>
            <a:off x="395287" y="2087562"/>
            <a:ext cx="8228012" cy="649287"/>
          </a:xfrm>
          <a:prstGeom prst="homePlate">
            <a:avLst>
              <a:gd name="adj" fmla="val 18093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2075" tIns="50800" rIns="3586162" bIns="49212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tx1"/>
                </a:solidFill>
                <a:latin typeface="Calibri"/>
                <a:sym typeface="Calibri"/>
              </a:rPr>
              <a:t>Отсутствие всей необходимой статистической информации (трудоемкость ее получения)</a:t>
            </a:r>
            <a:endParaRPr lang="ru-RU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0" name="Пятиугольник 9"/>
          <p:cNvSpPr/>
          <p:nvPr>
            <p:custDataLst>
              <p:tags r:id="rId7"/>
            </p:custDataLst>
          </p:nvPr>
        </p:nvSpPr>
        <p:spPr bwMode="auto">
          <a:xfrm>
            <a:off x="395287" y="3065462"/>
            <a:ext cx="8228012" cy="849312"/>
          </a:xfrm>
          <a:prstGeom prst="homePlate">
            <a:avLst>
              <a:gd name="adj" fmla="val 18131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2075" tIns="149225" rIns="3633787" bIns="150812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tx1"/>
                </a:solidFill>
                <a:latin typeface="Calibri"/>
                <a:sym typeface="Calibri"/>
              </a:rPr>
              <a:t>Чрезмерные трудозатраты на оформление и предварительные обсуждения отчета по ОРВ</a:t>
            </a:r>
            <a:endParaRPr lang="ru-RU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1" name="Пятиугольник 10"/>
          <p:cNvSpPr/>
          <p:nvPr>
            <p:custDataLst>
              <p:tags r:id="rId8"/>
            </p:custDataLst>
          </p:nvPr>
        </p:nvSpPr>
        <p:spPr bwMode="auto">
          <a:xfrm>
            <a:off x="395287" y="4216400"/>
            <a:ext cx="8228012" cy="649287"/>
          </a:xfrm>
          <a:prstGeom prst="homePlate">
            <a:avLst>
              <a:gd name="adj" fmla="val 18093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2075" tIns="49212" rIns="1120775" bIns="5080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tx1"/>
                </a:solidFill>
                <a:latin typeface="Calibri"/>
                <a:sym typeface="Calibri"/>
              </a:rPr>
              <a:t>Низкая мотивация членов проектной команды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tx1"/>
                </a:solidFill>
                <a:latin typeface="Calibri"/>
                <a:sym typeface="Calibri"/>
              </a:rPr>
              <a:t>(ОРВ рассматривается как дополнительная  не оплачиваемая нагрузка)</a:t>
            </a:r>
            <a:endParaRPr lang="ru-RU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" name="Пятиугольник 11"/>
          <p:cNvSpPr/>
          <p:nvPr>
            <p:custDataLst>
              <p:tags r:id="rId9"/>
            </p:custDataLst>
          </p:nvPr>
        </p:nvSpPr>
        <p:spPr bwMode="auto">
          <a:xfrm>
            <a:off x="395287" y="5153025"/>
            <a:ext cx="8228012" cy="431800"/>
          </a:xfrm>
          <a:prstGeom prst="homePlate">
            <a:avLst>
              <a:gd name="adj" fmla="val 18015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2075" tIns="79375" rIns="306387" bIns="77787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tx1"/>
                </a:solidFill>
                <a:latin typeface="Calibri"/>
                <a:sym typeface="Calibri"/>
              </a:rPr>
              <a:t>Отсутствие навыков применения методик сравнительного анализа альтернатив</a:t>
            </a:r>
            <a:endParaRPr lang="ru-RU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3" name="Пятиугольник 12"/>
          <p:cNvSpPr/>
          <p:nvPr>
            <p:custDataLst>
              <p:tags r:id="rId10"/>
            </p:custDataLst>
          </p:nvPr>
        </p:nvSpPr>
        <p:spPr bwMode="auto">
          <a:xfrm>
            <a:off x="395287" y="5873750"/>
            <a:ext cx="8228012" cy="431800"/>
          </a:xfrm>
          <a:prstGeom prst="homePlate">
            <a:avLst>
              <a:gd name="adj" fmla="val 18015"/>
            </a:avLst>
          </a:prstGeom>
          <a:solidFill>
            <a:schemeClr val="bg1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92075" tIns="77787" rIns="1819275" bIns="79375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chemeClr val="tx1"/>
                </a:solidFill>
                <a:latin typeface="Calibri"/>
                <a:sym typeface="Calibri"/>
              </a:rPr>
              <a:t>Сложности применения общих подходов к отслеживающей ОРВ </a:t>
            </a:r>
            <a:endParaRPr lang="ru-RU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6498" name="think-cell Slide" r:id="rId7" imgW="360" imgH="360" progId="">
              <p:embed/>
            </p:oleObj>
          </a:graphicData>
        </a:graphic>
      </p:graphicFrame>
      <p:sp>
        <p:nvSpPr>
          <p:cNvPr id="12" name="Прямоугольник 1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>
              <a:latin typeface="Calibri"/>
              <a:sym typeface="Calibri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Источники информации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564410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ПРОБЛЕМЫ ПРОВЕДЕНИЯ ОРВ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Скругленный прямоугольник 13"/>
          <p:cNvSpPr/>
          <p:nvPr/>
        </p:nvSpPr>
        <p:spPr>
          <a:xfrm>
            <a:off x="500034" y="1857364"/>
            <a:ext cx="3143272" cy="78581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Сайт 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  <a:hlinkClick r:id="rId9"/>
              </a:rPr>
              <a:t>www.zakupki.gov.ru</a:t>
            </a:r>
            <a:r>
              <a:rPr lang="en-US" sz="20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endParaRPr lang="ru-RU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6" name="Прямая со стрелкой 15"/>
          <p:cNvCxnSpPr/>
          <p:nvPr/>
        </p:nvCxnSpPr>
        <p:spPr>
          <a:xfrm flipV="1">
            <a:off x="3786182" y="1785926"/>
            <a:ext cx="428628" cy="285752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/>
          <p:cNvSpPr txBox="1"/>
          <p:nvPr/>
        </p:nvSpPr>
        <p:spPr>
          <a:xfrm>
            <a:off x="4286248" y="1571612"/>
            <a:ext cx="38599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Мониторинг исполнения норм 68-ПП</a:t>
            </a:r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4286248" y="2066916"/>
            <a:ext cx="41197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Мониторинг завышения НМЦ аналогов 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4357686" y="2500306"/>
            <a:ext cx="43913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тоимость аналогов для расчета издержек</a:t>
            </a:r>
            <a:endParaRPr lang="ru-RU" dirty="0"/>
          </a:p>
        </p:txBody>
      </p:sp>
      <p:cxnSp>
        <p:nvCxnSpPr>
          <p:cNvPr id="20" name="Прямая со стрелкой 19"/>
          <p:cNvCxnSpPr/>
          <p:nvPr/>
        </p:nvCxnSpPr>
        <p:spPr>
          <a:xfrm>
            <a:off x="3786182" y="2285992"/>
            <a:ext cx="500066" cy="1588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>
            <a:off x="3786182" y="2571744"/>
            <a:ext cx="500066" cy="71438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571472" y="3357562"/>
            <a:ext cx="3143272" cy="78581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ЕАИСТ (форма 15.2)</a:t>
            </a:r>
            <a:endParaRPr lang="ru-RU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25" name="Прямая со стрелкой 24"/>
          <p:cNvCxnSpPr/>
          <p:nvPr/>
        </p:nvCxnSpPr>
        <p:spPr>
          <a:xfrm flipV="1">
            <a:off x="3857620" y="3286124"/>
            <a:ext cx="428628" cy="285752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4357686" y="3071810"/>
            <a:ext cx="3756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бщие  количественные показатели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4357686" y="3567114"/>
            <a:ext cx="254633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татистика по демпингу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4429124" y="4000504"/>
            <a:ext cx="386317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татистика по устанавливаемой НМЦ</a:t>
            </a:r>
            <a:endParaRPr lang="ru-RU" dirty="0"/>
          </a:p>
        </p:txBody>
      </p:sp>
      <p:cxnSp>
        <p:nvCxnSpPr>
          <p:cNvPr id="29" name="Прямая со стрелкой 28"/>
          <p:cNvCxnSpPr/>
          <p:nvPr/>
        </p:nvCxnSpPr>
        <p:spPr>
          <a:xfrm>
            <a:off x="3857620" y="3786190"/>
            <a:ext cx="500066" cy="1588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3857620" y="4071942"/>
            <a:ext cx="500066" cy="71438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кругленный прямоугольник 30"/>
          <p:cNvSpPr/>
          <p:nvPr/>
        </p:nvSpPr>
        <p:spPr>
          <a:xfrm>
            <a:off x="571472" y="4572008"/>
            <a:ext cx="3143272" cy="78581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Отчетность по итогам МРГ и совещаний у Мэра</a:t>
            </a:r>
            <a:endParaRPr lang="ru-RU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32" name="Прямая со стрелкой 31"/>
          <p:cNvCxnSpPr/>
          <p:nvPr/>
        </p:nvCxnSpPr>
        <p:spPr>
          <a:xfrm>
            <a:off x="3857620" y="5000636"/>
            <a:ext cx="428628" cy="1588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4429124" y="4714884"/>
            <a:ext cx="4228530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Статистика по экономии до размещения </a:t>
            </a:r>
          </a:p>
          <a:p>
            <a:r>
              <a:rPr lang="ru-RU" dirty="0" smtClean="0"/>
              <a:t>(заказы первого уровня)</a:t>
            </a:r>
            <a:endParaRPr lang="ru-RU" dirty="0"/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571472" y="5643578"/>
            <a:ext cx="3143272" cy="78581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Отчет ДЭПР (отчет ИЦ «Строитель») </a:t>
            </a:r>
            <a:endParaRPr lang="ru-RU" sz="2000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40" name="Прямая со стрелкой 39"/>
          <p:cNvCxnSpPr/>
          <p:nvPr/>
        </p:nvCxnSpPr>
        <p:spPr>
          <a:xfrm>
            <a:off x="3857620" y="6072206"/>
            <a:ext cx="428628" cy="1588"/>
          </a:xfrm>
          <a:prstGeom prst="straightConnector1">
            <a:avLst/>
          </a:prstGeom>
          <a:ln w="381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4429124" y="5857892"/>
            <a:ext cx="38065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Эффективность внешней экспертизы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2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9" fill="hold">
                      <p:stCondLst>
                        <p:cond delay="indefinite"/>
                      </p:stCondLst>
                      <p:childTnLst>
                        <p:par>
                          <p:cTn id="80" fill="hold">
                            <p:stCondLst>
                              <p:cond delay="0"/>
                            </p:stCondLst>
                            <p:childTnLst>
                              <p:par>
                                <p:cTn id="8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7" grpId="0"/>
      <p:bldP spid="18" grpId="0"/>
      <p:bldP spid="19" grpId="0"/>
      <p:bldP spid="24" grpId="0" animBg="1"/>
      <p:bldP spid="26" grpId="0"/>
      <p:bldP spid="27" grpId="0"/>
      <p:bldP spid="28" grpId="0"/>
      <p:bldP spid="31" grpId="0" animBg="1"/>
      <p:bldP spid="33" grpId="0"/>
      <p:bldP spid="39" grpId="0" animBg="1"/>
      <p:bldP spid="41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5234" name="think-cell Slide" r:id="rId13" imgW="360" imgH="360" progId="">
              <p:embed/>
            </p:oleObj>
          </a:graphicData>
        </a:graphic>
      </p:graphicFrame>
      <p:sp>
        <p:nvSpPr>
          <p:cNvPr id="13" name="Прямоугольник 12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>
              <a:latin typeface="Calibri"/>
              <a:sym typeface="Calibri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Распределение времени проектной команды в ходе ОРВ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564410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ПРОБЛЕМЫ ПРОВЕДЕНИЯ ОРВ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15" name="Объект 14"/>
          <p:cNvGraphicFramePr>
            <a:graphicFrameLocks noChangeAspect="1"/>
          </p:cNvGraphicFramePr>
          <p:nvPr/>
        </p:nvGraphicFramePr>
        <p:xfrm>
          <a:off x="3033713" y="1814512"/>
          <a:ext cx="5057851" cy="2324100"/>
        </p:xfrm>
        <a:graphic>
          <a:graphicData uri="http://schemas.openxmlformats.org/presentationml/2006/ole">
            <p:oleObj spid="_x0000_s95235" name="Диаграмма" r:id="rId15" imgW="5057851" imgH="2324100" progId="MSGraph.Chart.8">
              <p:embed followColorScheme="full"/>
            </p:oleObj>
          </a:graphicData>
        </a:graphic>
      </p:graphicFrame>
      <p:sp>
        <p:nvSpPr>
          <p:cNvPr id="16" name="Прямоугольник 15"/>
          <p:cNvSpPr/>
          <p:nvPr>
            <p:custDataLst>
              <p:tags r:id="rId6"/>
            </p:custDataLst>
          </p:nvPr>
        </p:nvSpPr>
        <p:spPr bwMode="auto">
          <a:xfrm>
            <a:off x="592137" y="2012950"/>
            <a:ext cx="2501900" cy="4889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Оформление и согласование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отчета по ОРВ 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7" name="Прямоугольник 16"/>
          <p:cNvSpPr/>
          <p:nvPr>
            <p:custDataLst>
              <p:tags r:id="rId7"/>
            </p:custDataLst>
          </p:nvPr>
        </p:nvSpPr>
        <p:spPr bwMode="auto">
          <a:xfrm>
            <a:off x="8012112" y="2135187"/>
            <a:ext cx="4095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FA6CD36-F1DA-434C-B5C6-F2A3F37DA9A1}" type="datetime'''''''''''''5''''''''''''''''''''''''''0'''''''">
              <a:rPr lang="en-US" sz="1600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50</a:t>
            </a:fld>
            <a:r>
              <a:rPr lang="ru-RU" sz="1600" smtClean="0">
                <a:solidFill>
                  <a:schemeClr val="tx1"/>
                </a:solidFill>
                <a:latin typeface="Calibri"/>
                <a:sym typeface="Calibri"/>
              </a:rPr>
              <a:t>%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8"/>
            </p:custDataLst>
          </p:nvPr>
        </p:nvSpPr>
        <p:spPr bwMode="auto">
          <a:xfrm>
            <a:off x="792162" y="2844800"/>
            <a:ext cx="23018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Поиск и сбор информации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9"/>
            </p:custDataLst>
          </p:nvPr>
        </p:nvSpPr>
        <p:spPr bwMode="auto">
          <a:xfrm>
            <a:off x="652462" y="3554412"/>
            <a:ext cx="24415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Обсуждение, расчет, анализ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10"/>
            </p:custDataLst>
          </p:nvPr>
        </p:nvSpPr>
        <p:spPr bwMode="auto">
          <a:xfrm>
            <a:off x="6097587" y="2844800"/>
            <a:ext cx="4095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30%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1" name="Прямоугольник 20"/>
          <p:cNvSpPr/>
          <p:nvPr>
            <p:custDataLst>
              <p:tags r:id="rId11"/>
            </p:custDataLst>
          </p:nvPr>
        </p:nvSpPr>
        <p:spPr bwMode="auto">
          <a:xfrm>
            <a:off x="5135562" y="3554412"/>
            <a:ext cx="4095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20%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23528" y="4005064"/>
            <a:ext cx="18246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u="sng" dirty="0" smtClean="0"/>
              <a:t>Предложения:</a:t>
            </a:r>
            <a:endParaRPr lang="ru-RU" sz="2000" b="1" u="sng" dirty="0"/>
          </a:p>
        </p:txBody>
      </p:sp>
      <p:sp>
        <p:nvSpPr>
          <p:cNvPr id="23" name="TextBox 22"/>
          <p:cNvSpPr txBox="1"/>
          <p:nvPr/>
        </p:nvSpPr>
        <p:spPr>
          <a:xfrm>
            <a:off x="467544" y="4509120"/>
            <a:ext cx="842326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>
              <a:buAutoNum type="arabicPeriod"/>
            </a:pPr>
            <a:r>
              <a:rPr lang="ru-RU" dirty="0" smtClean="0"/>
              <a:t>Максимально сократить число бюрократических процедур (оформление отчета</a:t>
            </a:r>
          </a:p>
          <a:p>
            <a:pPr marL="342900" indent="-342900"/>
            <a:r>
              <a:rPr lang="ru-RU" dirty="0" smtClean="0"/>
              <a:t>по итогам обсуждения альтернатив и их расчетов)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67544" y="5157192"/>
            <a:ext cx="75848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ru-RU" dirty="0" smtClean="0"/>
              <a:t>2. Материально стимулировать членов проектных команд (премирование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67544" y="5517232"/>
            <a:ext cx="771486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ru-RU" dirty="0" smtClean="0"/>
              <a:t>3. Дополнительно обучить методикам сравнительного анализа альтернатив </a:t>
            </a:r>
          </a:p>
          <a:p>
            <a:pPr marL="342900" indent="-342900"/>
            <a:r>
              <a:rPr lang="ru-RU" dirty="0" smtClean="0"/>
              <a:t>или возложить данную функции исключительно на центр компетенций ОРВ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67544" y="6165304"/>
            <a:ext cx="644189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ru-RU" dirty="0" smtClean="0"/>
              <a:t>4. Разработать отдельный регламент для отслеживающей ОРВ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Корректирующее регулирование: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251520" y="260648"/>
            <a:ext cx="17347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РЕЗЮМ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467544" y="2060848"/>
            <a:ext cx="4392488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/>
              <a:t>Снижение границы обязательного проведения внешней экспертизы НМЦ до 20 млн.руб.</a:t>
            </a:r>
            <a:endParaRPr lang="ru-RU" sz="2200" b="1" dirty="0"/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5076056" y="2564904"/>
            <a:ext cx="576064" cy="0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5868144" y="2060848"/>
            <a:ext cx="2880320" cy="108012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/>
              <a:t>Дополнительная экономия –                          </a:t>
            </a:r>
            <a:r>
              <a:rPr lang="ru-RU" sz="2200" b="1" u="sng" dirty="0" smtClean="0"/>
              <a:t>8 млрд.руб.</a:t>
            </a:r>
            <a:endParaRPr lang="ru-RU" sz="2200" b="1" u="sng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467544" y="3356992"/>
            <a:ext cx="4392488" cy="108012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/>
              <a:t>Публикация рекомендуемых цен  в публичных источниках с привязкой к ЕАИСТ</a:t>
            </a:r>
            <a:endParaRPr lang="ru-RU" sz="2200" b="1" dirty="0"/>
          </a:p>
        </p:txBody>
      </p:sp>
      <p:cxnSp>
        <p:nvCxnSpPr>
          <p:cNvPr id="17" name="Прямая со стрелкой 16"/>
          <p:cNvCxnSpPr/>
          <p:nvPr/>
        </p:nvCxnSpPr>
        <p:spPr>
          <a:xfrm>
            <a:off x="5076056" y="3861048"/>
            <a:ext cx="576064" cy="0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Прямоугольник 17"/>
          <p:cNvSpPr/>
          <p:nvPr/>
        </p:nvSpPr>
        <p:spPr>
          <a:xfrm>
            <a:off x="5868144" y="3356992"/>
            <a:ext cx="2880320" cy="108012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/>
              <a:t>Снижение трудозатрат заказчиков</a:t>
            </a:r>
            <a:endParaRPr lang="ru-RU" sz="2200" b="1" u="sng" dirty="0"/>
          </a:p>
        </p:txBody>
      </p:sp>
      <p:sp>
        <p:nvSpPr>
          <p:cNvPr id="19" name="Прямоугольник 18"/>
          <p:cNvSpPr/>
          <p:nvPr/>
        </p:nvSpPr>
        <p:spPr>
          <a:xfrm>
            <a:off x="467544" y="4653136"/>
            <a:ext cx="4392488" cy="17281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/>
              <a:t>Корректировка методик расчета НМЦ: установление приоритетности источников информации,  привязка к ФКС и т.д.</a:t>
            </a:r>
            <a:endParaRPr lang="ru-RU" sz="2200" b="1" dirty="0"/>
          </a:p>
        </p:txBody>
      </p:sp>
      <p:cxnSp>
        <p:nvCxnSpPr>
          <p:cNvPr id="20" name="Прямая со стрелкой 19"/>
          <p:cNvCxnSpPr/>
          <p:nvPr/>
        </p:nvCxnSpPr>
        <p:spPr>
          <a:xfrm>
            <a:off x="5076056" y="5445224"/>
            <a:ext cx="576064" cy="0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5868144" y="4653136"/>
            <a:ext cx="2880320" cy="1800200"/>
          </a:xfrm>
          <a:prstGeom prst="rect">
            <a:avLst/>
          </a:prstGeom>
          <a:solidFill>
            <a:schemeClr val="accent4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200" b="1" dirty="0" smtClean="0"/>
              <a:t>Приведение методик расчета в соответствие с НПА, повышение эффективности </a:t>
            </a:r>
            <a:endParaRPr lang="ru-RU" sz="2200" b="1" u="sng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785786" y="1385392"/>
            <a:ext cx="7776864" cy="5472608"/>
          </a:xfrm>
          <a:prstGeom prst="rect">
            <a:avLst/>
          </a:prstGeom>
          <a:solidFill>
            <a:schemeClr val="bg1"/>
          </a:solidFill>
          <a:ln w="76200" cmpd="db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Дополнительные меры:</a:t>
            </a:r>
          </a:p>
          <a:p>
            <a:pPr algn="ctr"/>
            <a:endParaRPr lang="ru-RU" sz="2400" b="1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2400" dirty="0" smtClean="0">
                <a:solidFill>
                  <a:schemeClr val="tx1"/>
                </a:solidFill>
              </a:rPr>
              <a:t> Закрепить за ГРБС право, в рамках собственных средств, привлекать независимые организации  для проведения экспертизы обоснованности НМЦ заказов до 20 млн.руб. </a:t>
            </a:r>
          </a:p>
          <a:p>
            <a:endParaRPr lang="ru-RU" sz="24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2400" dirty="0" smtClean="0">
                <a:solidFill>
                  <a:schemeClr val="tx1"/>
                </a:solidFill>
              </a:rPr>
              <a:t> Публиковать в общедоступных источниках  заключения независимой экспертизы НМЦ свыше 20 млн.руб.</a:t>
            </a:r>
          </a:p>
          <a:p>
            <a:pPr>
              <a:buFont typeface="Arial" pitchFamily="34" charset="0"/>
              <a:buChar char="•"/>
            </a:pPr>
            <a:endParaRPr lang="ru-RU" sz="2400" dirty="0" smtClean="0">
              <a:solidFill>
                <a:schemeClr val="tx1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ru-RU" sz="2400" dirty="0" smtClean="0">
                <a:solidFill>
                  <a:schemeClr val="tx1"/>
                </a:solidFill>
              </a:rPr>
              <a:t>Расширить функционал ЕАИСТ, добавив шаблон протокола, который заполняется в режиме </a:t>
            </a:r>
            <a:r>
              <a:rPr lang="en-US" sz="2400" dirty="0" smtClean="0">
                <a:solidFill>
                  <a:schemeClr val="tx1"/>
                </a:solidFill>
              </a:rPr>
              <a:t>on-line</a:t>
            </a:r>
            <a:r>
              <a:rPr lang="ru-RU" sz="2400" dirty="0" smtClean="0">
                <a:solidFill>
                  <a:schemeClr val="tx1"/>
                </a:solidFill>
              </a:rPr>
              <a:t>, заказчиком с указанием метода расчета, самой цены, согласующего лица, ссылки на экспертное заключение (для заказов от 20 млн.руб.)</a:t>
            </a:r>
            <a:endParaRPr lang="ru-RU" sz="2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7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5" grpId="0" animBg="1"/>
      <p:bldP spid="16" grpId="0" animBg="1"/>
      <p:bldP spid="18" grpId="0" animBg="1"/>
      <p:bldP spid="19" grpId="0" animBg="1"/>
      <p:bldP spid="21" grpId="0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4994" name="think-cell Slide" r:id="rId25" imgW="360" imgH="360" progId="">
              <p:embed/>
            </p:oleObj>
          </a:graphicData>
        </a:graphic>
      </p:graphicFrame>
      <p:sp>
        <p:nvSpPr>
          <p:cNvPr id="14" name="Прямоугольник 1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>
              <a:latin typeface="Calibri"/>
              <a:sym typeface="Calibri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нализ регулирования: действующие правовые акты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>
            <p:custDataLst>
              <p:tags r:id="rId6"/>
            </p:custDataLst>
          </p:nvPr>
        </p:nvSpPr>
        <p:spPr>
          <a:xfrm>
            <a:off x="467544" y="4365104"/>
            <a:ext cx="831641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u="sng" dirty="0" smtClean="0">
                <a:solidFill>
                  <a:schemeClr val="accent2">
                    <a:lumMod val="75000"/>
                  </a:schemeClr>
                </a:solidFill>
              </a:rPr>
              <a:t>Постановление Правительства Москвы от 27 февраля 2012 года №67-ПП</a:t>
            </a:r>
            <a:endParaRPr lang="ru-RU" sz="2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6" name="Скругленный прямоугольник 15"/>
          <p:cNvSpPr/>
          <p:nvPr>
            <p:custDataLst>
              <p:tags r:id="rId7"/>
            </p:custDataLst>
          </p:nvPr>
        </p:nvSpPr>
        <p:spPr>
          <a:xfrm>
            <a:off x="395536" y="4797425"/>
            <a:ext cx="8352928" cy="1800200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ятиугольник 7"/>
          <p:cNvSpPr/>
          <p:nvPr>
            <p:custDataLst>
              <p:tags r:id="rId8"/>
            </p:custDataLst>
          </p:nvPr>
        </p:nvSpPr>
        <p:spPr bwMode="auto">
          <a:xfrm>
            <a:off x="1274761" y="4987925"/>
            <a:ext cx="7258050" cy="328612"/>
          </a:xfrm>
          <a:prstGeom prst="homePlate">
            <a:avLst>
              <a:gd name="adj" fmla="val 18357"/>
            </a:avLst>
          </a:prstGeom>
          <a:solidFill>
            <a:srgbClr val="C59F7A"/>
          </a:solidFill>
          <a:ln w="19050">
            <a:solidFill>
              <a:srgbClr val="98754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0962" tIns="42862" rIns="2359025" bIns="41275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Calibri"/>
                <a:sym typeface="Calibri"/>
              </a:rPr>
              <a:t>Рассмотрение на РГ ГРБС заказов от 3 до 100 млн.руб.</a:t>
            </a:r>
            <a:endParaRPr lang="ru-RU" sz="16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9" name="Пятиугольник 8"/>
          <p:cNvSpPr/>
          <p:nvPr>
            <p:custDataLst>
              <p:tags r:id="rId9"/>
            </p:custDataLst>
          </p:nvPr>
        </p:nvSpPr>
        <p:spPr bwMode="auto">
          <a:xfrm>
            <a:off x="1274761" y="5500687"/>
            <a:ext cx="7258050" cy="330200"/>
          </a:xfrm>
          <a:prstGeom prst="homePlate">
            <a:avLst>
              <a:gd name="adj" fmla="val 18269"/>
            </a:avLst>
          </a:prstGeom>
          <a:solidFill>
            <a:srgbClr val="C59F7A"/>
          </a:solidFill>
          <a:ln w="19050">
            <a:solidFill>
              <a:srgbClr val="98754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0962" tIns="42862" rIns="1023937" bIns="42862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Calibri"/>
                <a:sym typeface="Calibri"/>
              </a:rPr>
              <a:t>Рассмотрение на межведомственной РГ заказов свыше 100 млн.руб.</a:t>
            </a:r>
            <a:endParaRPr lang="ru-RU" sz="16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10" name="Пятиугольник 9"/>
          <p:cNvSpPr/>
          <p:nvPr>
            <p:custDataLst>
              <p:tags r:id="rId10"/>
            </p:custDataLst>
          </p:nvPr>
        </p:nvSpPr>
        <p:spPr bwMode="auto">
          <a:xfrm>
            <a:off x="1274761" y="6019800"/>
            <a:ext cx="7258050" cy="328612"/>
          </a:xfrm>
          <a:prstGeom prst="homePlate">
            <a:avLst>
              <a:gd name="adj" fmla="val 18357"/>
            </a:avLst>
          </a:prstGeom>
          <a:solidFill>
            <a:srgbClr val="C59F7A"/>
          </a:solidFill>
          <a:ln w="19050">
            <a:solidFill>
              <a:srgbClr val="98754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0962" tIns="41275" rIns="708025" bIns="42862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Calibri"/>
                <a:sym typeface="Calibri"/>
              </a:rPr>
              <a:t>Рассмотрение на совещании у Мэра Москвы заказов свыше 1 млрд.руб.</a:t>
            </a:r>
            <a:endParaRPr lang="ru-RU" sz="16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pic>
        <p:nvPicPr>
          <p:cNvPr id="11" name="Picture 9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647700" y="5972175"/>
            <a:ext cx="484176" cy="534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2" name="Picture 10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647700" y="5445125"/>
            <a:ext cx="476250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3" name="Picture 11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647700" y="4903787"/>
            <a:ext cx="46672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7" name="Скругленный прямоугольник 16"/>
          <p:cNvSpPr/>
          <p:nvPr>
            <p:custDataLst>
              <p:tags r:id="rId14"/>
            </p:custDataLst>
          </p:nvPr>
        </p:nvSpPr>
        <p:spPr>
          <a:xfrm>
            <a:off x="395536" y="2133600"/>
            <a:ext cx="8352928" cy="223224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TextBox 17"/>
          <p:cNvSpPr txBox="1"/>
          <p:nvPr>
            <p:custDataLst>
              <p:tags r:id="rId15"/>
            </p:custDataLst>
          </p:nvPr>
        </p:nvSpPr>
        <p:spPr>
          <a:xfrm>
            <a:off x="467544" y="1701800"/>
            <a:ext cx="8244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u="sng" dirty="0" smtClean="0">
                <a:solidFill>
                  <a:schemeClr val="accent2">
                    <a:lumMod val="75000"/>
                  </a:schemeClr>
                </a:solidFill>
              </a:rPr>
              <a:t>Постановление Правительства Москвы от 27 февраля 2012 года №68-ПП</a:t>
            </a:r>
            <a:endParaRPr lang="ru-RU" sz="2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7" name="Пятиугольник 26"/>
          <p:cNvSpPr/>
          <p:nvPr>
            <p:custDataLst>
              <p:tags r:id="rId16"/>
            </p:custDataLst>
          </p:nvPr>
        </p:nvSpPr>
        <p:spPr bwMode="auto">
          <a:xfrm>
            <a:off x="1243012" y="2282825"/>
            <a:ext cx="7256462" cy="330200"/>
          </a:xfrm>
          <a:prstGeom prst="homePlate">
            <a:avLst>
              <a:gd name="adj" fmla="val 17788"/>
            </a:avLst>
          </a:prstGeom>
          <a:solidFill>
            <a:srgbClr val="C59F7A"/>
          </a:solidFill>
          <a:ln w="19050">
            <a:solidFill>
              <a:srgbClr val="98754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0962" tIns="42862" rIns="2082800" bIns="42862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Calibri"/>
                <a:sym typeface="Calibri"/>
              </a:rPr>
              <a:t>Перечень  и описание возможных методик расчета НМЦ </a:t>
            </a:r>
            <a:endParaRPr lang="ru-RU" sz="16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8" name="Пятиугольник 27"/>
          <p:cNvSpPr/>
          <p:nvPr>
            <p:custDataLst>
              <p:tags r:id="rId17"/>
            </p:custDataLst>
          </p:nvPr>
        </p:nvSpPr>
        <p:spPr bwMode="auto">
          <a:xfrm>
            <a:off x="1243012" y="2797175"/>
            <a:ext cx="7256462" cy="330200"/>
          </a:xfrm>
          <a:prstGeom prst="homePlate">
            <a:avLst>
              <a:gd name="adj" fmla="val 17788"/>
            </a:avLst>
          </a:prstGeom>
          <a:solidFill>
            <a:srgbClr val="C59F7A"/>
          </a:solidFill>
          <a:ln w="19050">
            <a:solidFill>
              <a:srgbClr val="98754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0962" tIns="42862" rIns="560387" bIns="42862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Calibri"/>
                <a:sym typeface="Calibri"/>
              </a:rPr>
              <a:t>Перечень источников информации для формирования заказчиками НМЦ</a:t>
            </a:r>
            <a:endParaRPr lang="ru-RU" sz="16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29" name="Пятиугольник 28"/>
          <p:cNvSpPr/>
          <p:nvPr>
            <p:custDataLst>
              <p:tags r:id="rId18"/>
            </p:custDataLst>
          </p:nvPr>
        </p:nvSpPr>
        <p:spPr bwMode="auto">
          <a:xfrm>
            <a:off x="1243012" y="3314700"/>
            <a:ext cx="7256462" cy="330200"/>
          </a:xfrm>
          <a:prstGeom prst="homePlate">
            <a:avLst>
              <a:gd name="adj" fmla="val 17788"/>
            </a:avLst>
          </a:prstGeom>
          <a:solidFill>
            <a:srgbClr val="C59F7A"/>
          </a:solidFill>
          <a:ln w="19050">
            <a:solidFill>
              <a:srgbClr val="98754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0962" tIns="42862" rIns="1630362" bIns="42862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Calibri"/>
                <a:sym typeface="Calibri"/>
              </a:rPr>
              <a:t>Обязывает заказчика размещать протокол согласования НМЦ </a:t>
            </a:r>
            <a:endParaRPr lang="ru-RU" sz="16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30" name="Пятиугольник 29"/>
          <p:cNvSpPr/>
          <p:nvPr>
            <p:custDataLst>
              <p:tags r:id="rId19"/>
            </p:custDataLst>
          </p:nvPr>
        </p:nvSpPr>
        <p:spPr bwMode="auto">
          <a:xfrm>
            <a:off x="1243012" y="3816350"/>
            <a:ext cx="7256462" cy="315912"/>
          </a:xfrm>
          <a:prstGeom prst="homePlate">
            <a:avLst>
              <a:gd name="adj" fmla="val 18090"/>
            </a:avLst>
          </a:prstGeom>
          <a:solidFill>
            <a:srgbClr val="C59F7A"/>
          </a:solidFill>
          <a:ln w="19050">
            <a:solidFill>
              <a:srgbClr val="98754E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80962" tIns="36512" rIns="1169987" bIns="34925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b="1" dirty="0" smtClean="0">
                <a:solidFill>
                  <a:schemeClr val="bg1"/>
                </a:solidFill>
                <a:latin typeface="Calibri"/>
                <a:sym typeface="Calibri"/>
              </a:rPr>
              <a:t>Проведение внешней экспертизы НМЦ  заказов свыше 50 млн.руб. </a:t>
            </a:r>
            <a:endParaRPr lang="ru-RU" sz="1600" b="1" dirty="0">
              <a:solidFill>
                <a:schemeClr val="bg1"/>
              </a:solidFill>
              <a:latin typeface="Calibri"/>
              <a:sym typeface="Calibri"/>
            </a:endParaRPr>
          </a:p>
        </p:txBody>
      </p:sp>
      <p:pic>
        <p:nvPicPr>
          <p:cNvPr id="31" name="Picture 4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628650" y="2206625"/>
            <a:ext cx="500066" cy="5000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Picture 5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628650" y="2706687"/>
            <a:ext cx="490260" cy="5000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3" name="Picture 7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628650" y="3219450"/>
            <a:ext cx="501250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4" name="Picture 8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628650" y="3730625"/>
            <a:ext cx="481042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Объект 2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7042" name="think-cell Slide" r:id="rId7" imgW="360" imgH="360" progId="">
              <p:embed/>
            </p:oleObj>
          </a:graphicData>
        </a:graphic>
      </p:graphicFrame>
      <p:sp>
        <p:nvSpPr>
          <p:cNvPr id="25" name="Прямоугольник 2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>
              <a:latin typeface="Calibri"/>
              <a:sym typeface="Calibri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нализ регулирования: схема формирования НМЦ (действующая)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7" name="Прямоугольник 26"/>
          <p:cNvSpPr/>
          <p:nvPr/>
        </p:nvSpPr>
        <p:spPr>
          <a:xfrm>
            <a:off x="395536" y="2564904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бор информации заказчиком </a:t>
            </a:r>
            <a:endParaRPr lang="ru-RU" dirty="0"/>
          </a:p>
        </p:txBody>
      </p:sp>
      <p:sp>
        <p:nvSpPr>
          <p:cNvPr id="28" name="Стрелка вправо 27"/>
          <p:cNvSpPr/>
          <p:nvPr/>
        </p:nvSpPr>
        <p:spPr>
          <a:xfrm>
            <a:off x="2051720" y="2780928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2555776" y="2564904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асчет заказчиком НМЦ</a:t>
            </a:r>
            <a:endParaRPr lang="ru-RU" dirty="0"/>
          </a:p>
        </p:txBody>
      </p:sp>
      <p:sp>
        <p:nvSpPr>
          <p:cNvPr id="30" name="Стрелка вправо 29"/>
          <p:cNvSpPr/>
          <p:nvPr/>
        </p:nvSpPr>
        <p:spPr>
          <a:xfrm>
            <a:off x="4211960" y="2780928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4716016" y="2564904"/>
            <a:ext cx="1584176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огласование НМЦ на ГРБС, МРГ и т.д.</a:t>
            </a:r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4499992" y="4653136"/>
            <a:ext cx="2016224" cy="936104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езависимая экспертиза обоснования НМЦ</a:t>
            </a:r>
            <a:endParaRPr lang="ru-RU" dirty="0"/>
          </a:p>
        </p:txBody>
      </p:sp>
      <p:sp>
        <p:nvSpPr>
          <p:cNvPr id="33" name="Двойная стрелка вверх/вниз 32"/>
          <p:cNvSpPr/>
          <p:nvPr/>
        </p:nvSpPr>
        <p:spPr>
          <a:xfrm>
            <a:off x="5364088" y="4108137"/>
            <a:ext cx="360040" cy="504056"/>
          </a:xfrm>
          <a:prstGeom prst="upDown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/>
          <p:cNvSpPr/>
          <p:nvPr/>
        </p:nvSpPr>
        <p:spPr>
          <a:xfrm>
            <a:off x="4499992" y="2132856"/>
            <a:ext cx="2016224" cy="2088232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3 млн.руб.</a:t>
            </a:r>
            <a:endParaRPr lang="ru-RU" b="1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4355976" y="4509120"/>
            <a:ext cx="2304256" cy="2016224"/>
          </a:xfrm>
          <a:prstGeom prst="rect">
            <a:avLst/>
          </a:prstGeom>
          <a:noFill/>
          <a:ln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от 50 млн.руб</a:t>
            </a:r>
            <a:r>
              <a:rPr lang="ru-RU" dirty="0" smtClean="0">
                <a:solidFill>
                  <a:schemeClr val="tx1"/>
                </a:solidFill>
              </a:rPr>
              <a:t>.</a:t>
            </a:r>
            <a:endParaRPr lang="ru-RU" dirty="0"/>
          </a:p>
        </p:txBody>
      </p:sp>
      <p:sp>
        <p:nvSpPr>
          <p:cNvPr id="36" name="Стрелка вправо 35"/>
          <p:cNvSpPr/>
          <p:nvPr/>
        </p:nvSpPr>
        <p:spPr>
          <a:xfrm>
            <a:off x="6372200" y="2780928"/>
            <a:ext cx="432048" cy="484632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/>
        </p:nvSpPr>
        <p:spPr>
          <a:xfrm>
            <a:off x="6876256" y="2564904"/>
            <a:ext cx="1964754" cy="936104"/>
          </a:xfrm>
          <a:prstGeom prst="rect">
            <a:avLst/>
          </a:prstGeom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убликация заказа (занесение в ЕАИСТ)</a:t>
            </a:r>
            <a:endParaRPr lang="ru-RU" dirty="0"/>
          </a:p>
        </p:txBody>
      </p:sp>
      <p:sp>
        <p:nvSpPr>
          <p:cNvPr id="38" name="Прямоугольник 37"/>
          <p:cNvSpPr/>
          <p:nvPr/>
        </p:nvSpPr>
        <p:spPr>
          <a:xfrm>
            <a:off x="395536" y="3573016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еречень источников</a:t>
            </a:r>
            <a:endParaRPr lang="ru-RU" sz="1600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2555776" y="3573016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Методики расчета</a:t>
            </a:r>
            <a:endParaRPr lang="ru-RU" sz="16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6876256" y="3573016"/>
            <a:ext cx="1964754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рограммное обеспечение</a:t>
            </a:r>
            <a:endParaRPr lang="ru-RU" sz="1600" dirty="0"/>
          </a:p>
        </p:txBody>
      </p:sp>
      <p:sp>
        <p:nvSpPr>
          <p:cNvPr id="41" name="Прямоугольник 40"/>
          <p:cNvSpPr/>
          <p:nvPr/>
        </p:nvSpPr>
        <p:spPr>
          <a:xfrm>
            <a:off x="4499992" y="5661248"/>
            <a:ext cx="2016224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Регламент предоставления док.</a:t>
            </a:r>
            <a:endParaRPr lang="ru-RU" sz="1600" dirty="0"/>
          </a:p>
        </p:txBody>
      </p:sp>
      <p:sp>
        <p:nvSpPr>
          <p:cNvPr id="42" name="Прямоугольник 41"/>
          <p:cNvSpPr/>
          <p:nvPr/>
        </p:nvSpPr>
        <p:spPr>
          <a:xfrm>
            <a:off x="4716016" y="3573016"/>
            <a:ext cx="1584176" cy="50405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Положения об РГ и МРГ</a:t>
            </a:r>
            <a:endParaRPr lang="ru-RU" sz="160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0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0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7" grpId="0" animBg="1"/>
      <p:bldP spid="28" grpId="0" animBg="1"/>
      <p:bldP spid="29" grpId="0" animBg="1"/>
      <p:bldP spid="30" grpId="0" animBg="1"/>
      <p:bldP spid="31" grpId="0" animBg="1"/>
      <p:bldP spid="32" grpId="0" animBg="1"/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40" grpId="0" animBg="1"/>
      <p:bldP spid="41" grpId="0" animBg="1"/>
      <p:bldP spid="4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>
            <p:custDataLst>
              <p:tags r:id="rId1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ктуальность проблемы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2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467544" y="1772816"/>
            <a:ext cx="8208912" cy="2376265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</a:rPr>
              <a:t>Стартовая цена может отличаться в </a:t>
            </a:r>
            <a:r>
              <a:rPr lang="ru-RU" sz="2400" b="1" u="sng" dirty="0" smtClean="0">
                <a:solidFill>
                  <a:schemeClr val="accent1">
                    <a:lumMod val="50000"/>
                  </a:schemeClr>
                </a:solidFill>
              </a:rPr>
              <a:t>1,5-2 раза</a:t>
            </a:r>
            <a:endParaRPr lang="ru-RU" sz="2400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467544" y="4293096"/>
            <a:ext cx="3960440" cy="223224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Потери бюджета, связанные с неэффективностью системы НМЦ</a:t>
            </a:r>
          </a:p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(по экспертным оценкам)</a:t>
            </a:r>
          </a:p>
          <a:p>
            <a:pPr algn="ctr"/>
            <a:endParaRPr lang="ru-RU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ru-RU" sz="3200" b="1" dirty="0" smtClean="0">
                <a:solidFill>
                  <a:schemeClr val="accent2">
                    <a:lumMod val="75000"/>
                  </a:schemeClr>
                </a:solidFill>
              </a:rPr>
              <a:t>до </a:t>
            </a:r>
            <a:r>
              <a:rPr lang="en-US" sz="3200" b="1" dirty="0" smtClean="0">
                <a:solidFill>
                  <a:schemeClr val="accent2">
                    <a:lumMod val="75000"/>
                  </a:schemeClr>
                </a:solidFill>
              </a:rPr>
              <a:t>10</a:t>
            </a:r>
            <a:r>
              <a:rPr lang="ru-RU" sz="3200" b="1" dirty="0" smtClean="0">
                <a:solidFill>
                  <a:schemeClr val="accent2">
                    <a:lumMod val="75000"/>
                  </a:schemeClr>
                </a:solidFill>
              </a:rPr>
              <a:t> млрд.руб. </a:t>
            </a:r>
            <a:r>
              <a:rPr lang="ru-RU" sz="2000" b="1" dirty="0" smtClean="0">
                <a:solidFill>
                  <a:schemeClr val="accent2">
                    <a:lumMod val="75000"/>
                  </a:schemeClr>
                </a:solidFill>
              </a:rPr>
              <a:t>(в год)</a:t>
            </a:r>
            <a:endParaRPr lang="ru-RU" sz="32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644008" y="4288130"/>
            <a:ext cx="4032448" cy="223721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Завышенная НМЦ дает неверный рыночный сигнал экономическим агентам, что приводит к </a:t>
            </a:r>
          </a:p>
          <a:p>
            <a:pPr algn="ctr"/>
            <a:endParaRPr lang="ru-RU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/>
            <a:r>
              <a:rPr lang="ru-RU" sz="2800" b="1" dirty="0" smtClean="0">
                <a:solidFill>
                  <a:schemeClr val="accent2">
                    <a:lumMod val="75000"/>
                  </a:schemeClr>
                </a:solidFill>
              </a:rPr>
              <a:t>завышению уровня цен в целом</a:t>
            </a:r>
            <a:endParaRPr lang="ru-RU" sz="28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1" name="TextBox 10"/>
          <p:cNvSpPr txBox="1"/>
          <p:nvPr>
            <p:custDataLst>
              <p:tags r:id="rId4"/>
            </p:custDataLst>
          </p:nvPr>
        </p:nvSpPr>
        <p:spPr>
          <a:xfrm>
            <a:off x="2771800" y="3717032"/>
            <a:ext cx="1186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100 -200%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2" name="TextBox 11"/>
          <p:cNvSpPr txBox="1"/>
          <p:nvPr>
            <p:custDataLst>
              <p:tags r:id="rId5"/>
            </p:custDataLst>
          </p:nvPr>
        </p:nvSpPr>
        <p:spPr>
          <a:xfrm>
            <a:off x="2555776" y="2348880"/>
            <a:ext cx="16561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Бумага  офисная</a:t>
            </a:r>
            <a:endParaRPr lang="ru-RU" sz="1600" b="1" dirty="0"/>
          </a:p>
        </p:txBody>
      </p:sp>
      <p:pic>
        <p:nvPicPr>
          <p:cNvPr id="13" name="Picture 5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2915816" y="2780928"/>
            <a:ext cx="908794" cy="908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Box 14"/>
          <p:cNvSpPr txBox="1"/>
          <p:nvPr>
            <p:custDataLst>
              <p:tags r:id="rId7"/>
            </p:custDataLst>
          </p:nvPr>
        </p:nvSpPr>
        <p:spPr>
          <a:xfrm>
            <a:off x="4067944" y="2348880"/>
            <a:ext cx="201622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Ремонт дорог</a:t>
            </a:r>
          </a:p>
        </p:txBody>
      </p:sp>
      <p:pic>
        <p:nvPicPr>
          <p:cNvPr id="16" name="Picture 4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4572000" y="2780928"/>
            <a:ext cx="954727" cy="938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>
            <p:custDataLst>
              <p:tags r:id="rId9"/>
            </p:custDataLst>
          </p:nvPr>
        </p:nvSpPr>
        <p:spPr>
          <a:xfrm>
            <a:off x="4572000" y="3717032"/>
            <a:ext cx="9361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10 -30%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18" name="TextBox 17"/>
          <p:cNvSpPr txBox="1"/>
          <p:nvPr>
            <p:custDataLst>
              <p:tags r:id="rId10"/>
            </p:custDataLst>
          </p:nvPr>
        </p:nvSpPr>
        <p:spPr>
          <a:xfrm>
            <a:off x="5652120" y="2276872"/>
            <a:ext cx="302433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Мероприятия</a:t>
            </a:r>
          </a:p>
          <a:p>
            <a:pPr algn="ctr"/>
            <a:r>
              <a:rPr lang="ru-RU" sz="1600" b="1" dirty="0" smtClean="0"/>
              <a:t>(звук., свет, оборудование )</a:t>
            </a:r>
          </a:p>
        </p:txBody>
      </p:sp>
      <p:pic>
        <p:nvPicPr>
          <p:cNvPr id="19" name="Picture 6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6660232" y="2852936"/>
            <a:ext cx="974678" cy="9410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>
            <p:custDataLst>
              <p:tags r:id="rId12"/>
            </p:custDataLst>
          </p:nvPr>
        </p:nvSpPr>
        <p:spPr>
          <a:xfrm>
            <a:off x="6588224" y="3717032"/>
            <a:ext cx="12246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50 – 200%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1" name="TextBox 20"/>
          <p:cNvSpPr txBox="1"/>
          <p:nvPr>
            <p:custDataLst>
              <p:tags r:id="rId13"/>
            </p:custDataLst>
          </p:nvPr>
        </p:nvSpPr>
        <p:spPr>
          <a:xfrm>
            <a:off x="539552" y="2204864"/>
            <a:ext cx="20882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 smtClean="0"/>
              <a:t>Автомобили и перевозки</a:t>
            </a:r>
          </a:p>
        </p:txBody>
      </p:sp>
      <p:pic>
        <p:nvPicPr>
          <p:cNvPr id="22" name="Picture 7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115616" y="2780928"/>
            <a:ext cx="985373" cy="9361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3" name="TextBox 22"/>
          <p:cNvSpPr txBox="1"/>
          <p:nvPr>
            <p:custDataLst>
              <p:tags r:id="rId15"/>
            </p:custDataLst>
          </p:nvPr>
        </p:nvSpPr>
        <p:spPr>
          <a:xfrm>
            <a:off x="1043608" y="3717032"/>
            <a:ext cx="11860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chemeClr val="accent2">
                    <a:lumMod val="75000"/>
                  </a:schemeClr>
                </a:solidFill>
              </a:rPr>
              <a:t>15 -30%</a:t>
            </a:r>
            <a:endParaRPr lang="ru-RU" b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 animBg="1"/>
      <p:bldP spid="10" grpId="0" animBg="1"/>
      <p:bldP spid="11" grpId="0"/>
      <p:bldP spid="12" grpId="0"/>
      <p:bldP spid="15" grpId="0"/>
      <p:bldP spid="17" grpId="0"/>
      <p:bldP spid="18" grpId="0"/>
      <p:bldP spid="20" grpId="0"/>
      <p:bldP spid="21" grpId="0"/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5777" name="think-cell Slide" r:id="rId7" imgW="360" imgH="360" progId="">
              <p:embed/>
            </p:oleObj>
          </a:graphicData>
        </a:graphic>
      </p:graphicFrame>
      <p:sp>
        <p:nvSpPr>
          <p:cNvPr id="15" name="Прямоугольник 1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>
              <a:latin typeface="Calibri"/>
              <a:sym typeface="Calibri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ктуальность проблемы: модель расчета потерь бюджета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Скругленный прямоугольник 7"/>
          <p:cNvSpPr/>
          <p:nvPr/>
        </p:nvSpPr>
        <p:spPr>
          <a:xfrm>
            <a:off x="571472" y="2285992"/>
            <a:ext cx="3714776" cy="9144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Завышение НМЦ по заказам от 3 до 50 млн.руб. (</a:t>
            </a:r>
            <a:r>
              <a:rPr lang="ru-RU" sz="2000" b="1" dirty="0" smtClean="0">
                <a:solidFill>
                  <a:schemeClr val="tx1"/>
                </a:solidFill>
              </a:rPr>
              <a:t>6-7%</a:t>
            </a:r>
            <a:r>
              <a:rPr lang="ru-RU" sz="2000" dirty="0" smtClean="0">
                <a:solidFill>
                  <a:schemeClr val="tx1"/>
                </a:solidFill>
              </a:rPr>
              <a:t>)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71472" y="3571876"/>
            <a:ext cx="3714776" cy="914400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Завышение НМЦ по заказам до 3 млн.руб. (</a:t>
            </a:r>
            <a:r>
              <a:rPr lang="ru-RU" sz="2000" b="1" dirty="0" smtClean="0">
                <a:solidFill>
                  <a:schemeClr val="tx1"/>
                </a:solidFill>
              </a:rPr>
              <a:t>8-10%</a:t>
            </a:r>
            <a:r>
              <a:rPr lang="ru-RU" sz="2000" dirty="0" smtClean="0">
                <a:solidFill>
                  <a:schemeClr val="tx1"/>
                </a:solidFill>
              </a:rPr>
              <a:t>)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71472" y="4857760"/>
            <a:ext cx="3714776" cy="1143008"/>
          </a:xfrm>
          <a:prstGeom prst="round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 smtClean="0">
                <a:solidFill>
                  <a:schemeClr val="tx1"/>
                </a:solidFill>
              </a:rPr>
              <a:t>Влияние завышенных НМЦ на среднерыночные цены и другие потери 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572000" y="2285992"/>
            <a:ext cx="1357322" cy="92869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до 7 млрд.руб.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4581520" y="3586160"/>
            <a:ext cx="1419240" cy="928694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до 2 млрд.руб.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572000" y="4857760"/>
            <a:ext cx="1428760" cy="1143008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до 1 млрд.руб.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858016" y="3357562"/>
            <a:ext cx="1714512" cy="1571636"/>
          </a:xfrm>
          <a:prstGeom prst="round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до 10 млрд.руб. в год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cxnSp>
        <p:nvCxnSpPr>
          <p:cNvPr id="18" name="Прямая со стрелкой 17"/>
          <p:cNvCxnSpPr/>
          <p:nvPr/>
        </p:nvCxnSpPr>
        <p:spPr>
          <a:xfrm>
            <a:off x="6000760" y="2714620"/>
            <a:ext cx="857256" cy="571504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/>
          <p:cNvCxnSpPr/>
          <p:nvPr/>
        </p:nvCxnSpPr>
        <p:spPr>
          <a:xfrm>
            <a:off x="6143636" y="4071942"/>
            <a:ext cx="642942" cy="1588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V="1">
            <a:off x="6072198" y="4857760"/>
            <a:ext cx="714380" cy="571504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Объект 1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019" name="think-cell Slide" r:id="rId33" imgW="360" imgH="360" progId="">
              <p:embed/>
            </p:oleObj>
          </a:graphicData>
        </a:graphic>
      </p:graphicFrame>
      <p:sp>
        <p:nvSpPr>
          <p:cNvPr id="16" name="Прямоугольник 1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400" b="1">
              <a:latin typeface="Calibri"/>
              <a:sym typeface="Calibri"/>
            </a:endParaRPr>
          </a:p>
        </p:txBody>
      </p:sp>
      <p:sp>
        <p:nvSpPr>
          <p:cNvPr id="7" name="Прямоугольник 6"/>
          <p:cNvSpPr/>
          <p:nvPr>
            <p:custDataLst>
              <p:tags r:id="rId3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нализ регулирования: оценка эффективности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8" name="TextBox 7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9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Прямоугольник 9"/>
          <p:cNvSpPr/>
          <p:nvPr>
            <p:custDataLst>
              <p:tags r:id="rId6"/>
            </p:custDataLst>
          </p:nvPr>
        </p:nvSpPr>
        <p:spPr>
          <a:xfrm>
            <a:off x="3236912" y="1844824"/>
            <a:ext cx="2736304" cy="468052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</a:rPr>
              <a:t>Экономия до размещения</a:t>
            </a:r>
            <a:endParaRPr lang="ru-RU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graphicFrame>
        <p:nvGraphicFramePr>
          <p:cNvPr id="11" name="Объект 10"/>
          <p:cNvGraphicFramePr>
            <a:graphicFrameLocks noChangeAspect="1"/>
          </p:cNvGraphicFramePr>
          <p:nvPr/>
        </p:nvGraphicFramePr>
        <p:xfrm>
          <a:off x="3208337" y="2679700"/>
          <a:ext cx="2819400" cy="1571549"/>
        </p:xfrm>
        <a:graphic>
          <a:graphicData uri="http://schemas.openxmlformats.org/presentationml/2006/ole">
            <p:oleObj spid="_x0000_s86018" name="Диаграмма" r:id="rId35" imgW="2819532" imgH="1571553" progId="MSGraph.Chart.8">
              <p:embed followColorScheme="full"/>
            </p:oleObj>
          </a:graphicData>
        </a:graphic>
      </p:graphicFrame>
      <p:sp>
        <p:nvSpPr>
          <p:cNvPr id="13" name="Прямоугольник 12"/>
          <p:cNvSpPr/>
          <p:nvPr>
            <p:custDataLst>
              <p:tags r:id="rId7"/>
            </p:custDataLst>
          </p:nvPr>
        </p:nvSpPr>
        <p:spPr bwMode="auto">
          <a:xfrm>
            <a:off x="5086350" y="2536825"/>
            <a:ext cx="3587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62B297D-43BA-437A-B02F-4DE63B04F48A}" type="datetime'''10''''''''''''''''''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0</a:t>
            </a:fld>
            <a:r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t>%</a:t>
            </a:r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5" name="Прямоугольник 14"/>
          <p:cNvSpPr/>
          <p:nvPr>
            <p:custDataLst>
              <p:tags r:id="rId8"/>
            </p:custDataLst>
          </p:nvPr>
        </p:nvSpPr>
        <p:spPr bwMode="auto">
          <a:xfrm>
            <a:off x="3822700" y="3451225"/>
            <a:ext cx="26828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050CFE9-D0EB-41D2-B94E-2D2B05464905}" type="datetime'''''''''''''''''''''''''''''''3'''''''''">
              <a:rPr lang="en-US" sz="1400" smtClean="0">
                <a:solidFill>
                  <a:schemeClr val="tx1"/>
                </a:solidFill>
                <a:latin typeface="Calibri"/>
                <a:sym typeface="Calibri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</a:t>
            </a:fld>
            <a:r>
              <a:rPr lang="ru-RU" sz="1400" smtClean="0">
                <a:solidFill>
                  <a:schemeClr val="tx1"/>
                </a:solidFill>
                <a:latin typeface="Calibri"/>
                <a:sym typeface="Calibri"/>
              </a:rPr>
              <a:t>%</a:t>
            </a:r>
            <a:endParaRPr lang="en-US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9"/>
            </p:custDataLst>
          </p:nvPr>
        </p:nvSpPr>
        <p:spPr bwMode="auto">
          <a:xfrm>
            <a:off x="4737100" y="4181475"/>
            <a:ext cx="10572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tx1"/>
                </a:solidFill>
                <a:latin typeface="Calibri"/>
                <a:sym typeface="Calibri"/>
              </a:rPr>
              <a:t>1-ый уровень</a:t>
            </a:r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10"/>
            </p:custDataLst>
          </p:nvPr>
        </p:nvSpPr>
        <p:spPr bwMode="auto">
          <a:xfrm>
            <a:off x="3443287" y="4181475"/>
            <a:ext cx="10255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400" b="1" dirty="0" smtClean="0">
                <a:solidFill>
                  <a:schemeClr val="tx1"/>
                </a:solidFill>
                <a:latin typeface="Calibri"/>
                <a:sym typeface="Calibri"/>
              </a:rPr>
              <a:t>2-ой уровень</a:t>
            </a:r>
            <a:endParaRPr lang="en-US" sz="1400" b="1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18" name="Прямоугольник 17"/>
          <p:cNvSpPr/>
          <p:nvPr>
            <p:custDataLst>
              <p:tags r:id="rId11"/>
            </p:custDataLst>
          </p:nvPr>
        </p:nvSpPr>
        <p:spPr bwMode="auto">
          <a:xfrm>
            <a:off x="3332163" y="4941887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dirty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19" name="TextBox 18"/>
          <p:cNvSpPr txBox="1"/>
          <p:nvPr>
            <p:custDataLst>
              <p:tags r:id="rId12"/>
            </p:custDataLst>
          </p:nvPr>
        </p:nvSpPr>
        <p:spPr>
          <a:xfrm>
            <a:off x="3535362" y="4797425"/>
            <a:ext cx="243869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err="1" smtClean="0"/>
              <a:t>Межотраслев</a:t>
            </a:r>
            <a:r>
              <a:rPr lang="ru-RU" sz="1400" dirty="0" smtClean="0"/>
              <a:t>. согласование: ГРБС, МРГ, Мэр </a:t>
            </a:r>
            <a:endParaRPr lang="ru-RU" sz="1400" dirty="0"/>
          </a:p>
        </p:txBody>
      </p:sp>
      <p:sp>
        <p:nvSpPr>
          <p:cNvPr id="20" name="Прямоугольник 19"/>
          <p:cNvSpPr/>
          <p:nvPr>
            <p:custDataLst>
              <p:tags r:id="rId13"/>
            </p:custDataLst>
          </p:nvPr>
        </p:nvSpPr>
        <p:spPr bwMode="auto">
          <a:xfrm>
            <a:off x="3332162" y="5407025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dirty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21" name="TextBox 20"/>
          <p:cNvSpPr txBox="1"/>
          <p:nvPr>
            <p:custDataLst>
              <p:tags r:id="rId14"/>
            </p:custDataLst>
          </p:nvPr>
        </p:nvSpPr>
        <p:spPr>
          <a:xfrm>
            <a:off x="3546475" y="5267325"/>
            <a:ext cx="23444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Независимая экспертиза НМЦ (ИЦ «Строитель») </a:t>
            </a:r>
            <a:endParaRPr lang="ru-RU" sz="1400" dirty="0"/>
          </a:p>
        </p:txBody>
      </p:sp>
      <p:sp>
        <p:nvSpPr>
          <p:cNvPr id="22" name="TextBox 21"/>
          <p:cNvSpPr txBox="1"/>
          <p:nvPr>
            <p:custDataLst>
              <p:tags r:id="rId15"/>
            </p:custDataLst>
          </p:nvPr>
        </p:nvSpPr>
        <p:spPr>
          <a:xfrm>
            <a:off x="3203848" y="4509120"/>
            <a:ext cx="29394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Инструменты на 1-ом уровне</a:t>
            </a:r>
            <a:endParaRPr lang="ru-RU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3" name="TextBox 22"/>
          <p:cNvSpPr txBox="1"/>
          <p:nvPr>
            <p:custDataLst>
              <p:tags r:id="rId16"/>
            </p:custDataLst>
          </p:nvPr>
        </p:nvSpPr>
        <p:spPr>
          <a:xfrm>
            <a:off x="3203575" y="5805264"/>
            <a:ext cx="27990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Инструменты на 2-ом уровне</a:t>
            </a:r>
            <a:endParaRPr lang="ru-RU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4" name="Прямоугольник 23"/>
          <p:cNvSpPr/>
          <p:nvPr>
            <p:custDataLst>
              <p:tags r:id="rId17"/>
            </p:custDataLst>
          </p:nvPr>
        </p:nvSpPr>
        <p:spPr bwMode="auto">
          <a:xfrm>
            <a:off x="3332162" y="6208711"/>
            <a:ext cx="214312" cy="214312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dirty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25" name="TextBox 24"/>
          <p:cNvSpPr txBox="1"/>
          <p:nvPr>
            <p:custDataLst>
              <p:tags r:id="rId18"/>
            </p:custDataLst>
          </p:nvPr>
        </p:nvSpPr>
        <p:spPr>
          <a:xfrm>
            <a:off x="3546475" y="6165850"/>
            <a:ext cx="1811337" cy="3077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ru-RU" sz="1400" dirty="0" smtClean="0"/>
              <a:t>Рабочие группы ГРБС</a:t>
            </a:r>
            <a:endParaRPr lang="ru-RU" sz="1400" dirty="0"/>
          </a:p>
        </p:txBody>
      </p:sp>
      <p:sp>
        <p:nvSpPr>
          <p:cNvPr id="26" name="Прямоугольник 25"/>
          <p:cNvSpPr/>
          <p:nvPr>
            <p:custDataLst>
              <p:tags r:id="rId19"/>
            </p:custDataLst>
          </p:nvPr>
        </p:nvSpPr>
        <p:spPr>
          <a:xfrm>
            <a:off x="395536" y="1844824"/>
            <a:ext cx="2736304" cy="468052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</a:rPr>
              <a:t>Заказ со снижением </a:t>
            </a:r>
            <a:r>
              <a:rPr lang="en-US" b="1" dirty="0" smtClean="0">
                <a:solidFill>
                  <a:schemeClr val="accent2">
                    <a:lumMod val="50000"/>
                  </a:schemeClr>
                </a:solidFill>
              </a:rPr>
              <a:t>&gt;</a:t>
            </a: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</a:rPr>
              <a:t>25% (без </a:t>
            </a:r>
            <a:r>
              <a:rPr lang="ru-RU" b="1" dirty="0" err="1" smtClean="0">
                <a:solidFill>
                  <a:schemeClr val="accent2">
                    <a:lumMod val="50000"/>
                  </a:schemeClr>
                </a:solidFill>
              </a:rPr>
              <a:t>претензион</a:t>
            </a:r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</a:rPr>
              <a:t>.)</a:t>
            </a:r>
            <a:endParaRPr lang="ru-RU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>
            <p:custDataLst>
              <p:tags r:id="rId20"/>
            </p:custDataLst>
          </p:nvPr>
        </p:nvSpPr>
        <p:spPr>
          <a:xfrm>
            <a:off x="800100" y="3068637"/>
            <a:ext cx="198368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Количество – </a:t>
            </a:r>
            <a:r>
              <a:rPr lang="ru-RU" b="1" dirty="0" smtClean="0"/>
              <a:t>18%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28" name="TextBox 27"/>
          <p:cNvSpPr txBox="1"/>
          <p:nvPr>
            <p:custDataLst>
              <p:tags r:id="rId21"/>
            </p:custDataLst>
          </p:nvPr>
        </p:nvSpPr>
        <p:spPr>
          <a:xfrm>
            <a:off x="395536" y="2636837"/>
            <a:ext cx="2363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2011 год (01.03-01.09)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9" name="Прямоугольник 28"/>
          <p:cNvSpPr/>
          <p:nvPr>
            <p:custDataLst>
              <p:tags r:id="rId22"/>
            </p:custDataLst>
          </p:nvPr>
        </p:nvSpPr>
        <p:spPr bwMode="auto">
          <a:xfrm>
            <a:off x="539750" y="3140075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dirty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30" name="TextBox 29"/>
          <p:cNvSpPr txBox="1"/>
          <p:nvPr>
            <p:custDataLst>
              <p:tags r:id="rId23"/>
            </p:custDataLst>
          </p:nvPr>
        </p:nvSpPr>
        <p:spPr>
          <a:xfrm>
            <a:off x="800100" y="3475037"/>
            <a:ext cx="158755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бъем – </a:t>
            </a:r>
            <a:r>
              <a:rPr lang="ru-RU" b="1" dirty="0" smtClean="0"/>
              <a:t>9,4%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1" name="Прямоугольник 30"/>
          <p:cNvSpPr/>
          <p:nvPr>
            <p:custDataLst>
              <p:tags r:id="rId24"/>
            </p:custDataLst>
          </p:nvPr>
        </p:nvSpPr>
        <p:spPr bwMode="auto">
          <a:xfrm>
            <a:off x="539750" y="3548062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dirty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32" name="TextBox 31"/>
          <p:cNvSpPr txBox="1"/>
          <p:nvPr>
            <p:custDataLst>
              <p:tags r:id="rId25"/>
            </p:custDataLst>
          </p:nvPr>
        </p:nvSpPr>
        <p:spPr>
          <a:xfrm>
            <a:off x="800100" y="4437062"/>
            <a:ext cx="22802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Количество – </a:t>
            </a:r>
            <a:r>
              <a:rPr lang="ru-RU" b="1" dirty="0" smtClean="0"/>
              <a:t>22,87%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3" name="TextBox 32"/>
          <p:cNvSpPr txBox="1"/>
          <p:nvPr>
            <p:custDataLst>
              <p:tags r:id="rId26"/>
            </p:custDataLst>
          </p:nvPr>
        </p:nvSpPr>
        <p:spPr>
          <a:xfrm>
            <a:off x="395287" y="4005262"/>
            <a:ext cx="23633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2012 год (01.03-01.09)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4" name="Прямоугольник 33"/>
          <p:cNvSpPr/>
          <p:nvPr>
            <p:custDataLst>
              <p:tags r:id="rId27"/>
            </p:custDataLst>
          </p:nvPr>
        </p:nvSpPr>
        <p:spPr bwMode="auto">
          <a:xfrm>
            <a:off x="539750" y="4508500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dirty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35" name="TextBox 34"/>
          <p:cNvSpPr txBox="1"/>
          <p:nvPr>
            <p:custDataLst>
              <p:tags r:id="rId28"/>
            </p:custDataLst>
          </p:nvPr>
        </p:nvSpPr>
        <p:spPr>
          <a:xfrm>
            <a:off x="800100" y="4843462"/>
            <a:ext cx="182319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бъем – </a:t>
            </a:r>
            <a:r>
              <a:rPr lang="ru-RU" b="1" dirty="0" smtClean="0"/>
              <a:t>11,76%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36" name="Прямоугольник 35"/>
          <p:cNvSpPr/>
          <p:nvPr>
            <p:custDataLst>
              <p:tags r:id="rId29"/>
            </p:custDataLst>
          </p:nvPr>
        </p:nvSpPr>
        <p:spPr bwMode="auto">
          <a:xfrm>
            <a:off x="539750" y="4914900"/>
            <a:ext cx="212725" cy="212725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dirty="0" smtClean="0">
                <a:solidFill>
                  <a:schemeClr val="accent2"/>
                </a:solidFill>
                <a:latin typeface="Wingdings"/>
                <a:sym typeface="Wingdings"/>
              </a:rPr>
              <a:t>ü</a:t>
            </a:r>
            <a:endParaRPr lang="ru-RU" dirty="0">
              <a:solidFill>
                <a:schemeClr val="accent2"/>
              </a:solidFill>
              <a:sym typeface="Wingdings"/>
            </a:endParaRPr>
          </a:p>
        </p:txBody>
      </p:sp>
      <p:sp>
        <p:nvSpPr>
          <p:cNvPr id="37" name="TextBox 36"/>
          <p:cNvSpPr txBox="1"/>
          <p:nvPr>
            <p:custDataLst>
              <p:tags r:id="rId30"/>
            </p:custDataLst>
          </p:nvPr>
        </p:nvSpPr>
        <p:spPr>
          <a:xfrm>
            <a:off x="395536" y="5373216"/>
            <a:ext cx="2783454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/>
              <a:t>Вывод: </a:t>
            </a:r>
            <a:r>
              <a:rPr lang="ru-RU" dirty="0" smtClean="0"/>
              <a:t>снижение </a:t>
            </a:r>
          </a:p>
          <a:p>
            <a:r>
              <a:rPr lang="ru-RU" dirty="0" smtClean="0"/>
              <a:t>эффективности системы </a:t>
            </a:r>
          </a:p>
          <a:p>
            <a:r>
              <a:rPr lang="ru-RU" dirty="0" smtClean="0"/>
              <a:t>расчета НМЦ заказчиками</a:t>
            </a:r>
            <a:endParaRPr lang="ru-RU" dirty="0"/>
          </a:p>
        </p:txBody>
      </p:sp>
      <p:sp>
        <p:nvSpPr>
          <p:cNvPr id="38" name="Прямоугольник 37"/>
          <p:cNvSpPr/>
          <p:nvPr>
            <p:custDataLst>
              <p:tags r:id="rId31"/>
            </p:custDataLst>
          </p:nvPr>
        </p:nvSpPr>
        <p:spPr>
          <a:xfrm>
            <a:off x="6084168" y="1844824"/>
            <a:ext cx="2736304" cy="468052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ru-RU" b="1" dirty="0" smtClean="0">
                <a:solidFill>
                  <a:schemeClr val="accent2">
                    <a:lumMod val="50000"/>
                  </a:schemeClr>
                </a:solidFill>
              </a:rPr>
              <a:t>Эффективность внешней экспертизы НМЦ</a:t>
            </a:r>
            <a:endParaRPr lang="ru-RU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6156176" y="2564904"/>
            <a:ext cx="2592288" cy="18722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Средняя экономия от внешней экспертизы в 2010-2011 года </a:t>
            </a:r>
            <a:r>
              <a:rPr lang="ru-RU" sz="1600" i="1" dirty="0" smtClean="0">
                <a:solidFill>
                  <a:schemeClr val="tx1"/>
                </a:solidFill>
              </a:rPr>
              <a:t>(проводил ДЭПР по заказам свыше 10 млн.руб.)</a:t>
            </a:r>
            <a:r>
              <a:rPr lang="ru-RU" sz="1600" b="1" i="1" dirty="0" smtClean="0">
                <a:solidFill>
                  <a:schemeClr val="tx1"/>
                </a:solidFill>
              </a:rPr>
              <a:t> 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- 5% 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6156176" y="4581128"/>
            <a:ext cx="2592288" cy="18722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Средняя экономия от внешней экспертизы в 2012 году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 </a:t>
            </a:r>
            <a:r>
              <a:rPr lang="ru-RU" sz="1600" i="1" dirty="0" smtClean="0">
                <a:solidFill>
                  <a:schemeClr val="tx1"/>
                </a:solidFill>
              </a:rPr>
              <a:t>(проводит ИЦ «Строитель» по заказам свыше 50 млн.руб.)</a:t>
            </a:r>
            <a:r>
              <a:rPr lang="ru-RU" sz="1600" b="1" i="1" dirty="0" smtClean="0">
                <a:solidFill>
                  <a:schemeClr val="tx1"/>
                </a:solidFill>
              </a:rPr>
              <a:t>  </a:t>
            </a:r>
          </a:p>
          <a:p>
            <a:pPr algn="ctr"/>
            <a:r>
              <a:rPr lang="ru-RU" b="1" dirty="0" smtClean="0">
                <a:solidFill>
                  <a:schemeClr val="tx1"/>
                </a:solidFill>
              </a:rPr>
              <a:t>- 5,5%  </a:t>
            </a:r>
            <a:endParaRPr lang="ru-RU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Объект 36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8067" name="think-cell Slide" r:id="rId28" imgW="360" imgH="360" progId="">
              <p:embed/>
            </p:oleObj>
          </a:graphicData>
        </a:graphic>
      </p:graphicFrame>
      <p:sp>
        <p:nvSpPr>
          <p:cNvPr id="36" name="Прямоугольник 3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>
              <a:latin typeface="Calibri"/>
              <a:sym typeface="Calibri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3"/>
            </p:custDataLst>
          </p:nvPr>
        </p:nvSpPr>
        <p:spPr>
          <a:xfrm>
            <a:off x="251520" y="1268760"/>
            <a:ext cx="8640960" cy="54006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2400" b="1" dirty="0" smtClean="0">
                <a:solidFill>
                  <a:schemeClr val="accent2">
                    <a:lumMod val="75000"/>
                  </a:schemeClr>
                </a:solidFill>
              </a:rPr>
              <a:t>Анализ регулирования: исполнение норм</a:t>
            </a:r>
            <a:endParaRPr lang="ru-RU" sz="2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4"/>
            </p:custDataLst>
          </p:nvPr>
        </p:nvSpPr>
        <p:spPr>
          <a:xfrm>
            <a:off x="251520" y="260648"/>
            <a:ext cx="29241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ОБОСНОВАНИЕ</a:t>
            </a:r>
            <a:endParaRPr lang="ru-RU" sz="3200" b="1" dirty="0"/>
          </a:p>
        </p:txBody>
      </p:sp>
      <p:pic>
        <p:nvPicPr>
          <p:cNvPr id="6" name="Picture 1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8028384" y="260648"/>
            <a:ext cx="864096" cy="86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8" name="TextBox 37"/>
          <p:cNvSpPr txBox="1"/>
          <p:nvPr>
            <p:custDataLst>
              <p:tags r:id="rId6"/>
            </p:custDataLst>
          </p:nvPr>
        </p:nvSpPr>
        <p:spPr>
          <a:xfrm>
            <a:off x="251520" y="1700808"/>
            <a:ext cx="803396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u="sng" dirty="0" smtClean="0">
                <a:solidFill>
                  <a:schemeClr val="tx2">
                    <a:lumMod val="75000"/>
                  </a:schemeClr>
                </a:solidFill>
              </a:rPr>
              <a:t>Характеристика выборочного мониторинга</a:t>
            </a:r>
            <a:endParaRPr lang="ru-RU" sz="2000" b="1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9" name="Прямоугольник 38"/>
          <p:cNvSpPr/>
          <p:nvPr>
            <p:custDataLst>
              <p:tags r:id="rId7"/>
            </p:custDataLst>
          </p:nvPr>
        </p:nvSpPr>
        <p:spPr bwMode="auto">
          <a:xfrm>
            <a:off x="433387" y="2179637"/>
            <a:ext cx="274637" cy="274637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92473D"/>
                </a:solidFill>
                <a:latin typeface="Wingdings"/>
                <a:sym typeface="Wingdings"/>
              </a:rPr>
              <a:t>ü</a:t>
            </a:r>
            <a:endParaRPr lang="ru-RU" sz="2400" dirty="0">
              <a:solidFill>
                <a:srgbClr val="92473D"/>
              </a:solidFill>
              <a:latin typeface="Calibri"/>
              <a:sym typeface="Wingdings"/>
            </a:endParaRPr>
          </a:p>
        </p:txBody>
      </p:sp>
      <p:sp>
        <p:nvSpPr>
          <p:cNvPr id="40" name="TextBox 39"/>
          <p:cNvSpPr txBox="1"/>
          <p:nvPr>
            <p:custDataLst>
              <p:tags r:id="rId8"/>
            </p:custDataLst>
          </p:nvPr>
        </p:nvSpPr>
        <p:spPr>
          <a:xfrm>
            <a:off x="833290" y="2078037"/>
            <a:ext cx="61332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24 заказчика </a:t>
            </a:r>
            <a:r>
              <a:rPr lang="ru-RU" sz="2000" dirty="0" smtClean="0"/>
              <a:t>– органы исполнительной власти (ОИВ)</a:t>
            </a:r>
            <a:endParaRPr lang="ru-RU" sz="2000" dirty="0"/>
          </a:p>
        </p:txBody>
      </p:sp>
      <p:sp>
        <p:nvSpPr>
          <p:cNvPr id="41" name="Прямоугольник 40"/>
          <p:cNvSpPr/>
          <p:nvPr>
            <p:custDataLst>
              <p:tags r:id="rId9"/>
            </p:custDataLst>
          </p:nvPr>
        </p:nvSpPr>
        <p:spPr bwMode="auto">
          <a:xfrm>
            <a:off x="433387" y="2549525"/>
            <a:ext cx="274637" cy="274637"/>
          </a:xfrm>
          <a:prstGeom prst="rect">
            <a:avLst/>
          </a:prstGeom>
          <a:noFill/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US" sz="2400" dirty="0" smtClean="0">
                <a:solidFill>
                  <a:srgbClr val="92473D"/>
                </a:solidFill>
                <a:latin typeface="Wingdings"/>
                <a:sym typeface="Wingdings"/>
              </a:rPr>
              <a:t>ü</a:t>
            </a:r>
            <a:endParaRPr lang="ru-RU" sz="2400" dirty="0">
              <a:solidFill>
                <a:srgbClr val="92473D"/>
              </a:solidFill>
              <a:latin typeface="Calibri"/>
              <a:sym typeface="Wingdings"/>
            </a:endParaRPr>
          </a:p>
        </p:txBody>
      </p:sp>
      <p:sp>
        <p:nvSpPr>
          <p:cNvPr id="42" name="TextBox 41"/>
          <p:cNvSpPr txBox="1"/>
          <p:nvPr>
            <p:custDataLst>
              <p:tags r:id="rId10"/>
            </p:custDataLst>
          </p:nvPr>
        </p:nvSpPr>
        <p:spPr>
          <a:xfrm>
            <a:off x="827584" y="2478087"/>
            <a:ext cx="61332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30 заказчиков </a:t>
            </a:r>
            <a:r>
              <a:rPr lang="ru-RU" sz="2000" dirty="0" smtClean="0"/>
              <a:t>– государственные учреждения (ГУ)</a:t>
            </a:r>
            <a:endParaRPr lang="ru-RU" sz="2000" dirty="0"/>
          </a:p>
        </p:txBody>
      </p:sp>
      <p:sp>
        <p:nvSpPr>
          <p:cNvPr id="43" name="TextBox 42"/>
          <p:cNvSpPr txBox="1"/>
          <p:nvPr>
            <p:custDataLst>
              <p:tags r:id="rId11"/>
            </p:custDataLst>
          </p:nvPr>
        </p:nvSpPr>
        <p:spPr>
          <a:xfrm>
            <a:off x="3957637" y="3429000"/>
            <a:ext cx="49757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</a:rPr>
              <a:t>ГУ:</a:t>
            </a:r>
            <a:endParaRPr lang="ru-RU" sz="2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4" name="TextBox 43"/>
          <p:cNvSpPr txBox="1"/>
          <p:nvPr>
            <p:custDataLst>
              <p:tags r:id="rId12"/>
            </p:custDataLst>
          </p:nvPr>
        </p:nvSpPr>
        <p:spPr>
          <a:xfrm>
            <a:off x="3324225" y="5229225"/>
            <a:ext cx="73930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tx2">
                    <a:lumMod val="75000"/>
                  </a:schemeClr>
                </a:solidFill>
              </a:rPr>
              <a:t>ОИВ:</a:t>
            </a:r>
            <a:endParaRPr lang="ru-RU" sz="2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45" name="Объект 44"/>
          <p:cNvGraphicFramePr>
            <a:graphicFrameLocks noChangeAspect="1"/>
          </p:cNvGraphicFramePr>
          <p:nvPr/>
        </p:nvGraphicFramePr>
        <p:xfrm>
          <a:off x="1809750" y="3327400"/>
          <a:ext cx="2962351" cy="1209751"/>
        </p:xfrm>
        <a:graphic>
          <a:graphicData uri="http://schemas.openxmlformats.org/presentationml/2006/ole">
            <p:oleObj spid="_x0000_s88068" name="Диаграмма" r:id="rId30" imgW="2962351" imgH="1209751" progId="MSGraph.Chart.8">
              <p:embed followColorScheme="full"/>
            </p:oleObj>
          </a:graphicData>
        </a:graphic>
      </p:graphicFrame>
      <p:sp>
        <p:nvSpPr>
          <p:cNvPr id="46" name="Прямоугольник 45"/>
          <p:cNvSpPr/>
          <p:nvPr>
            <p:custDataLst>
              <p:tags r:id="rId13"/>
            </p:custDataLst>
          </p:nvPr>
        </p:nvSpPr>
        <p:spPr bwMode="auto">
          <a:xfrm>
            <a:off x="525462" y="3925887"/>
            <a:ext cx="1344612" cy="4889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Нет  протокола 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согласования 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14"/>
            </p:custDataLst>
          </p:nvPr>
        </p:nvSpPr>
        <p:spPr bwMode="auto">
          <a:xfrm>
            <a:off x="4702175" y="4048125"/>
            <a:ext cx="4095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8D9CD56-EAE8-4780-83B1-4FDF6AD748DE}" type="datetime'''''9''''''''''0'''''''''''''''''">
              <a:rPr lang="en-US" sz="1600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90</a:t>
            </a:fld>
            <a:r>
              <a:rPr lang="ru-RU" sz="1600" smtClean="0">
                <a:solidFill>
                  <a:schemeClr val="tx1"/>
                </a:solidFill>
                <a:latin typeface="Calibri"/>
                <a:sym typeface="Calibri"/>
              </a:rPr>
              <a:t>%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15"/>
            </p:custDataLst>
          </p:nvPr>
        </p:nvSpPr>
        <p:spPr bwMode="auto">
          <a:xfrm>
            <a:off x="3502025" y="3548062"/>
            <a:ext cx="4095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50%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6"/>
            </p:custDataLst>
          </p:nvPr>
        </p:nvSpPr>
        <p:spPr bwMode="auto">
          <a:xfrm>
            <a:off x="809625" y="3425825"/>
            <a:ext cx="1060450" cy="4889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Нет расчета 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НМЦ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graphicFrame>
        <p:nvGraphicFramePr>
          <p:cNvPr id="50" name="Объект 49"/>
          <p:cNvGraphicFramePr>
            <a:graphicFrameLocks noChangeAspect="1"/>
          </p:cNvGraphicFramePr>
          <p:nvPr/>
        </p:nvGraphicFramePr>
        <p:xfrm>
          <a:off x="1809750" y="4479925"/>
          <a:ext cx="3362249" cy="2076602"/>
        </p:xfrm>
        <a:graphic>
          <a:graphicData uri="http://schemas.openxmlformats.org/presentationml/2006/ole">
            <p:oleObj spid="_x0000_s88069" name="Диаграмма" r:id="rId31" imgW="3362249" imgH="2076602" progId="MSGraph.Chart.8">
              <p:embed followColorScheme="full"/>
            </p:oleObj>
          </a:graphicData>
        </a:graphic>
      </p:graphicFrame>
      <p:sp>
        <p:nvSpPr>
          <p:cNvPr id="51" name="Прямоугольник 50"/>
          <p:cNvSpPr/>
          <p:nvPr>
            <p:custDataLst>
              <p:tags r:id="rId17"/>
            </p:custDataLst>
          </p:nvPr>
        </p:nvSpPr>
        <p:spPr bwMode="auto">
          <a:xfrm>
            <a:off x="809625" y="4635500"/>
            <a:ext cx="1060450" cy="4889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Нет расчета 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НМЦ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2" name="Прямоугольник 51"/>
          <p:cNvSpPr/>
          <p:nvPr>
            <p:custDataLst>
              <p:tags r:id="rId18"/>
            </p:custDataLst>
          </p:nvPr>
        </p:nvSpPr>
        <p:spPr bwMode="auto">
          <a:xfrm>
            <a:off x="2397125" y="4757737"/>
            <a:ext cx="4095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35000155-38CC-400A-B012-3F1A3D75CB96}" type="datetime'''1''''''''''''''''''''''''''''''''''''''''''''''''''''''''3'">
              <a:rPr lang="en-US" sz="1600" smtClean="0">
                <a:solidFill>
                  <a:schemeClr val="tx1"/>
                </a:solidFill>
                <a:latin typeface="Calibri"/>
                <a:sym typeface="Calibri"/>
              </a:rPr>
              <a:pPr>
                <a:spcBef>
                  <a:spcPct val="0"/>
                </a:spcBef>
                <a:spcAft>
                  <a:spcPct val="0"/>
                </a:spcAft>
              </a:pPr>
              <a:t>13</a:t>
            </a:fld>
            <a:r>
              <a:rPr lang="ru-RU" sz="1600" smtClean="0">
                <a:solidFill>
                  <a:schemeClr val="tx1"/>
                </a:solidFill>
                <a:latin typeface="Calibri"/>
                <a:sym typeface="Calibri"/>
              </a:rPr>
              <a:t>%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3" name="Прямоугольник 52"/>
          <p:cNvSpPr/>
          <p:nvPr>
            <p:custDataLst>
              <p:tags r:id="rId19"/>
            </p:custDataLst>
          </p:nvPr>
        </p:nvSpPr>
        <p:spPr bwMode="auto">
          <a:xfrm>
            <a:off x="525462" y="5259387"/>
            <a:ext cx="1344612" cy="488950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Нет  протокола 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согласования 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4" name="Прямоугольник 53"/>
          <p:cNvSpPr/>
          <p:nvPr>
            <p:custDataLst>
              <p:tags r:id="rId20"/>
            </p:custDataLst>
          </p:nvPr>
        </p:nvSpPr>
        <p:spPr bwMode="auto">
          <a:xfrm>
            <a:off x="631825" y="5761037"/>
            <a:ext cx="1238250" cy="7334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Не указывают 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в протоколе 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метод расчета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5" name="Прямоугольник 54"/>
          <p:cNvSpPr/>
          <p:nvPr>
            <p:custDataLst>
              <p:tags r:id="rId21"/>
            </p:custDataLst>
          </p:nvPr>
        </p:nvSpPr>
        <p:spPr bwMode="auto">
          <a:xfrm>
            <a:off x="2806700" y="5381625"/>
            <a:ext cx="4095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25%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6" name="Прямоугольник 55"/>
          <p:cNvSpPr/>
          <p:nvPr>
            <p:custDataLst>
              <p:tags r:id="rId22"/>
            </p:custDataLst>
          </p:nvPr>
        </p:nvSpPr>
        <p:spPr bwMode="auto">
          <a:xfrm>
            <a:off x="5092700" y="6005512"/>
            <a:ext cx="409575" cy="24447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8575" tIns="0" rIns="28575" bIns="0" rtlCol="0" anchor="ctr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US" sz="1600" dirty="0" smtClean="0">
                <a:solidFill>
                  <a:schemeClr val="tx1"/>
                </a:solidFill>
                <a:latin typeface="Calibri"/>
                <a:sym typeface="Calibri"/>
              </a:rPr>
              <a:t>96</a:t>
            </a:r>
            <a:r>
              <a:rPr lang="ru-RU" sz="1600" dirty="0" smtClean="0">
                <a:solidFill>
                  <a:schemeClr val="tx1"/>
                </a:solidFill>
                <a:latin typeface="Calibri"/>
                <a:sym typeface="Calibri"/>
              </a:rPr>
              <a:t>%</a:t>
            </a:r>
            <a:endParaRPr lang="en-US" sz="16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57" name="TextBox 56"/>
          <p:cNvSpPr txBox="1"/>
          <p:nvPr>
            <p:custDataLst>
              <p:tags r:id="rId23"/>
            </p:custDataLst>
          </p:nvPr>
        </p:nvSpPr>
        <p:spPr>
          <a:xfrm>
            <a:off x="323528" y="2924944"/>
            <a:ext cx="45079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u="sng" dirty="0" smtClean="0">
                <a:solidFill>
                  <a:schemeClr val="tx2">
                    <a:lumMod val="75000"/>
                  </a:schemeClr>
                </a:solidFill>
              </a:rPr>
              <a:t>Результаты выборочного мониторинга</a:t>
            </a:r>
            <a:endParaRPr lang="ru-RU" sz="2000" b="1" u="sng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8" name="Прямоугольник 57"/>
          <p:cNvSpPr/>
          <p:nvPr>
            <p:custDataLst>
              <p:tags r:id="rId24"/>
            </p:custDataLst>
          </p:nvPr>
        </p:nvSpPr>
        <p:spPr>
          <a:xfrm>
            <a:off x="5652120" y="3356992"/>
            <a:ext cx="3096344" cy="259228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TextBox 58"/>
          <p:cNvSpPr txBox="1"/>
          <p:nvPr>
            <p:custDataLst>
              <p:tags r:id="rId25"/>
            </p:custDataLst>
          </p:nvPr>
        </p:nvSpPr>
        <p:spPr>
          <a:xfrm>
            <a:off x="6012160" y="3501008"/>
            <a:ext cx="26644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u="sng" dirty="0" smtClean="0">
                <a:solidFill>
                  <a:schemeClr val="accent2">
                    <a:lumMod val="75000"/>
                  </a:schemeClr>
                </a:solidFill>
              </a:rPr>
              <a:t>Отсутствие механизмов мониторинга:</a:t>
            </a:r>
            <a:endParaRPr lang="ru-RU" b="1" u="sng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1" name="TextBox 60"/>
          <p:cNvSpPr txBox="1"/>
          <p:nvPr>
            <p:custDataLst>
              <p:tags r:id="rId26"/>
            </p:custDataLst>
          </p:nvPr>
        </p:nvSpPr>
        <p:spPr>
          <a:xfrm>
            <a:off x="5796136" y="4365104"/>
            <a:ext cx="288032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b="1" dirty="0" smtClean="0"/>
              <a:t>В ЕАИСТ нет функционала, </a:t>
            </a:r>
            <a:r>
              <a:rPr lang="ru-RU" dirty="0" smtClean="0"/>
              <a:t>позволяющего осуществлять мониторинг исполнения  заказчиками норм 68-ПП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 animBg="1"/>
      <p:bldP spid="59" grpId="0"/>
      <p:bldP spid="61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1&quot;&gt;&lt;elem m_fUsage=&quot;3.08654928585560250000E+000&quot;&gt;&lt;m_ppcolschidx val=&quot;0&quot;/&gt;&lt;m_rgb r=&quot;92&quot; g=&quot;47&quot; b=&quot;3d&quot;/&gt;&lt;/elem&gt;&lt;elem m_fUsage=&quot;1.48971187613004320000E+000&quot;&gt;&lt;m_ppcolschidx val=&quot;0&quot;/&gt;&lt;m_rgb r=&quot;9c&quot; g=&quot;42&quot; b=&quot;32&quot;/&gt;&lt;/elem&gt;&lt;elem m_fUsage=&quot;1.31058665010000010000E+000&quot;&gt;&lt;m_ppcolschidx val=&quot;0&quot;/&gt;&lt;m_rgb r=&quot;af&quot; g=&quot;4d&quot; b=&quot;3a&quot;/&gt;&lt;/elem&gt;&lt;elem m_fUsage=&quot;1.01889108574164800000E+000&quot;&gt;&lt;m_ppcolschidx val=&quot;0&quot;/&gt;&lt;m_rgb r=&quot;c6&quot; g=&quot;ab&quot; b=&quot;8e&quot;/&gt;&lt;/elem&gt;&lt;elem m_fUsage=&quot;9.04300596090000020000E-001&quot;&gt;&lt;m_ppcolschidx val=&quot;0&quot;/&gt;&lt;m_rgb r=&quot;b7&quot; g=&quot;4e&quot; b=&quot;3c&quot;/&gt;&lt;/elem&gt;&lt;elem m_fUsage=&quot;8.94151714170523190000E-001&quot;&gt;&lt;m_ppcolschidx val=&quot;0&quot;/&gt;&lt;m_rgb r=&quot;98&quot; g=&quot;75&quot; b=&quot;4e&quot;/&gt;&lt;/elem&gt;&lt;elem m_fUsage=&quot;8.89766443076872580000E-001&quot;&gt;&lt;m_ppcolschidx val=&quot;0&quot;/&gt;&lt;m_rgb r=&quot;c5&quot; g=&quot;9f&quot; b=&quot;7a&quot;/&gt;&lt;/elem&gt;&lt;elem m_fUsage=&quot;5.23347633027360990000E-002&quot;&gt;&lt;m_ppcolschidx val=&quot;0&quot;/&gt;&lt;m_rgb r=&quot;d7&quot; g=&quot;c5&quot; b=&quot;b0&quot;/&gt;&lt;/elem&gt;&lt;elem m_fUsage=&quot;3.81520424476946220000E-002&quot;&gt;&lt;m_ppcolschidx val=&quot;0&quot;/&gt;&lt;m_rgb r=&quot;b8&quot; g=&quot;98&quot; b=&quot;74&quot;/&gt;&lt;/elem&gt;&lt;elem m_fUsage=&quot;3.43368382029251570000E-002&quot;&gt;&lt;m_ppcolschidx val=&quot;0&quot;/&gt;&lt;m_rgb r=&quot;ff&quot; g=&quot;c8&quot; b=&quot;c1&quot;/&gt;&lt;/elem&gt;&lt;elem m_fUsage=&quot;3.09031543826326430000E-002&quot;&gt;&lt;m_ppcolschidx val=&quot;0&quot;/&gt;&lt;m_rgb r=&quot;d8&quot; g=&quot;ca&quot; b=&quot;af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 &lt;/m_chGroupingSymbol&gt;&lt;m_chDecimalSymbol17909&gt;,&lt;/m_chDecimalSymbol17909&gt;&lt;m_nGroupingDigits17909 val=&quot;3&quot;/&gt;&lt;m_chGroupingSymbol17909&gt; &lt;/m_chGroupingSymbol17909&gt;&lt;/m_precDefault&gt;&lt;/CDefaultPrec&gt;&lt;/root&gt;"/>
  <p:tag name="THINKCELLUNDODONOTDELETE" val="233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p8QLTvsE2yIkkWMgeXR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pBh6bjM0.WLZVCyl9P4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0xIJv6l0qDGoJe0gh1E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4akzEeQ6kSXoG9Kuwwlx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A0kPt0Yk2qnLw3nVaJz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f5IQPlskuEu1nb6AXSc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s9pCBOrUux5nQcfPr2r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hMBUE68EesYRFu9QVY5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hhIFSI.kCuPSwFCBlr.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lmz97Oi02eD9Ki2bQQf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QoTqzohUO2f3ksr6vk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IfknowukC9RkUBcjSZ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xWzoKrUSQ9YmFQuTWw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zZ6PFyzkOnuPoFhZ8sp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WpfAyFkmqOzmYmwu3j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QaB7wOREmS.1k1cfqrR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IEIAXr0y6nYi6Gaqfw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snf_di1UeftPCpZUA8l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axGAeJU0WI0ZGBkD7Dn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w28hrKWUaJw0Y_w.Txs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bd679rF0aAJN0J8Z9O8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LuQN574EaA41BYTYVR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BnFWU_2UKBLgs4VV0b7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6dfTDTEqNbJHV2BIpC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de7WXjAESU0HXwefORQ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jCSXFBOUGUQF4ZWNB5j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QWgpelUkSAxQqDjhORa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SeccmRhU63fX2xY2NVN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Bnvilzjkaqbr87PzMRj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r7qckWO0uSdIBUwLxs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Hxl3K4aU.uMvX0WKTx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3rJuZaf0Cf4S29o74VC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6dfTDTEqNbJHV2BIpC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Vb1vf2GEiZsHfN34L6v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de7WXjAESU0HXwefORQ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jCSXFBOUGUQF4ZWNB5j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t0NjwL30GZQA3NtyLOO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LlvU94.UmFPOvLqzKgx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1sp0gU.kWdfUQnKb5Ke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wuyAp7CUGKLNhpFo8db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cP3q6HjkCgjQ6QOTB0Q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FxI.R.CEuicw.oVOfM4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kYKNQFVkCS7U4wSYzjN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3XqCaGCpk.Sd.3lSfewv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vzHyTr10Ww15fsf8N_V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GBienn4LEKK6RPM8ZJlq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mA.ezGA0u.BimTzO8Es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n.a_vi1UaRgoENpHYue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T_LJhceEm2r1V_ZScnv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TmXAaolkWlSOL_tJbi7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n3L79mL0WCqwT2PWyWI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OMP0d18U6TNe3flTIrw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SiMTkzg0SVwOWvokjQW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6QTHwFhS0Wu3.Ui3VVla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CXMHUs.UCa6c37VKDJ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D2w2JiqEeuKW9tJJ.n5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t.8IJQqE691IF0TWSo_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hkmNWzMEqBOFmow_3VV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QdAIB2SkCuT9.odnwm8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9U5Tk8Lkih65_TazCIc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YSeMCItkKOzfqXpQQ2e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oe6P41_EqBh29pdU8Bi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9U5Tk8Lkih65_TazCIc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KYSeMCItkKOzfqXpQQ2e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oe6P41_EqBh29pdU8Bi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aMwm4KFkmVhq4MhIOoB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GTZ0KqxEee5eR5V_FP9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B6WpEGzUG5vIJLjH_FC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9LFJ3l8Ue4HSw_AGL8q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6dfTDTEqNbJHV2BIp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de7WXjAESU0HXwefORQ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jCSXFBOUGUQF4ZWNB5j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m6dfTDTEqNbJHV2BIpC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de7WXjAESU0HXwefORQ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jCSXFBOUGUQF4ZWNB5j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KhQC8AEi.mHc7tJRfN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RxJE9CGEyoi9mUrtu5C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ZXW5e2lk6QzbROWdQw8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RSJ2fD8UiBkGTbj_z_E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B4PiY87ku3fidAyWs0y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9FSZnlLnkq3II_FT_QcV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pO.XsWbEKb_1ULqh0Fa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1IHvveNGkeAtEVcat4Ba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fT4DrQFUyueETiY.djw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eIXofYpkOBUwuDFalB4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RxJE9CGEyoi9mUrtu5C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RSJ2fD8UiBkGTbj_z_E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KhQC8AEi.mHc7tJRf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7Em_GqG0SCg.i_y1a6p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RxJE9CGEyoi9mUrtu5C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RSJ2fD8UiBkGTbj_z_E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N7ScpbjE6WA4Sa01Kmm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DQYM0TUaKQWIj6Ly6O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.VpAZqiS0WkQfaekXqbC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pud7oMbEKqs86zunIRA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gq8UVNx0OOvpQJNejP7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lSnE5sIUusB2WT8qzvj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lbf4XSCES8N7PTsz.n4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7hf9ydnMEmIBvCrRAErx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xx574ohmEOBWAKMIWacS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hrjhMh8EmePkrpKEP6O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cWuHlV4k2rWnO38meG7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rKhQC8AEi.mHc7tJRfN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RxJE9CGEyoi9mUrtu5C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RSJ2fD8UiBkGTbj_z_E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OqGn3Iskedm1dPyu1Ka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h4Q57NlEyu5D9uDyiGp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kp9s56O0GV8YN5Rp.39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UIIFiX_kECHM54sMLR8L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LjXD93rk62RIFfh1me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DzO1V.H0uc_r.1KFiPQ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iIs6NEsEqNFfVIkwqCs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CbcR3AGU6GV4duf1iF8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1EFkKdrkKeyFxU2QK_e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_n7HpCtEGjBor1OOH1d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XwCbdYND0arAgGhQCU8Y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NrnGxOP0Og2n7l1XAR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3ONzYZlUy1vBl3vtfvk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4kryLPSlkua0OMPMcgz2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hc8aS3YRUSur1_U3X3_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20YBJgjN0q3iPuqu1XKz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HirEJDvkipqjvVRqzH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PnbqK2u0mqI_7OMrNEx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7GFtz8SEiGKs4gy4KLC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Hq7F_eZUCwCnTZ2uAKl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nVk17wiUO9gIj.wGpz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GTZ0KqxEee5eR5V_FP9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SHHQ_TNkiDc_1_7QF60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tB4QLTxkSGHurgqIDMA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vpUku5hUSD2XU2TGRQ3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ZUY_NRNEKEiXaA6sFNn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aqrM6AGBkS.NC9hark9U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eDnEozlYkykneGwUS080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dXoKlw6021OzJZIruAy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ga8QGN8N02ht6jc679ZC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2IV3jANUe9gPkh79DLr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M4it7UxEaONb.hKMqM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ZXW5e2lk6QzbROWdQw8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2bva9z7kaO3JK0qGUE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zWgG1Zc0GKkIoS0c67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Vo5uaAylUWGVWaMn9Hp9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k8VHi1pUWtwb_6s_adA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6w8SdM_UKx8L2h7XYvv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GTZ0KqxEee5eR5V_FP9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ZXW5e2lk6QzbROWdQw8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7Em_GqG0SCg.i_y1a6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na5fDUr0.fJWJhpx7yX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j_eW0iCrkSNxhtn09tZ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jRKZB7cEKBUeCG2E0I1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UVKAbhsQEWEUNhHYmBPM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hoJpiwFEqyTMcRRyDCq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rBdEhIrUylVAzPZN19R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na5fDUr0.fJWJhpx7yX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87n5iAXEyGyp9bVgdW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4E_LTBEEe1bg_5fqo9k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vCsnmQ5EmIkJaT6_ThV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q16F4UtkOpRM.2QBdg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AgC0Mgi0C2QQGhLd3E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na5fDUr0.fJWJhpx7y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HluGcjKkykI3xrLeFXM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4o9bsQgEuwY4ymDB4Vl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NdjCaYMkqAKo.um1D1a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LjvcvbsU.cg9L114AK3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26dxhN4xk.8SnTGutJgY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ayRwGsQUST_ieAZ2n2g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3E7xfNN0a3OZ7uQWwgL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.7h.Mu4Uu2YJ2v.af1F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Q2cIDqr0upx8wY8X5h4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heACK8XkuuwBPDlWJ.A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s6fuHc8U6O93Rmf3CX3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4xmcWRN2Ea10KN24qV3f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HNbUQa40.ikrbMvvyXv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9VcjfSHEkuigSFFxcC.3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lj.kujDkS7zQI1Uhtxe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ThkKOdN0SRetzxLjdw5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FepdlKOkiR3kVClnuNK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X0xxFkpUGKz.TSsMXDJ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WM2Umjl7kiAhYRjpxYX0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cQJqmN_0GShokuxnJja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EZpdTtZ0mggcWOhrSFn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JZRP.Pn0e2tjRKn_d8I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7Em_GqG0SCg.i_y1a6p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rMZSHDsUKRKH5cdzjB6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IW_xJMpU6L3UC_uaRhY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4RkbchBD0Sq4xBa8EM_I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nGFzD.aEWUoXDOjbWL9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MHEiAbwkW0mWrL45xJn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RwlHn3okyef00Epd.93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T_aWSO7zU.75xilXPD18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HZByTkStKxZWMcBsR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d.eEOFwUuJyMJXm8g0c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gvGXzilU6scmxolL6Ve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ACQc94N0K88dHhE0iv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zphlVJ0WcFHtEYcJEK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r_hnfTR0eMedF.Kssg0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MhBXyqKUqJS9ZTMjcqb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dj8FeOx06l.SgULT66x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9zxMiRJ8UyIdld2wd9Ti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KQKfC5kEiKFSjWVPX0S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9v6XJZEuxUt0n_obB8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x3pOefPkiPUqjxrLHUZ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v3w1UuAEyjsFOd7gSXj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05XkXEDEq5gqA8q48tm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382</TotalTime>
  <Words>2026</Words>
  <Application>Microsoft Office PowerPoint</Application>
  <PresentationFormat>Экран (4:3)</PresentationFormat>
  <Paragraphs>454</Paragraphs>
  <Slides>24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4</vt:i4>
      </vt:variant>
    </vt:vector>
  </HeadingPairs>
  <TitlesOfParts>
    <vt:vector size="27" baseType="lpstr">
      <vt:lpstr>Тема Office</vt:lpstr>
      <vt:lpstr>think-cell Slide</vt:lpstr>
      <vt:lpstr>Диаграмма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дварительный отчет по оценке регулирующего воздействия постановления Правительства Москвы от 27 февраля 2012 года №68-ПП    «Об утверждении порядка формирования начальной (максимальной) цены государственных контрактов и гражданско-правовых договоров при размещении заказов на поставки товаров, выполнение работ, оказание услуг, финансирование которых осуществляется с привлечением средств бюджета города Москвы»</dc:title>
  <dc:creator>USER</dc:creator>
  <cp:lastModifiedBy>delya</cp:lastModifiedBy>
  <cp:revision>365</cp:revision>
  <dcterms:modified xsi:type="dcterms:W3CDTF">2012-11-21T12:48:04Z</dcterms:modified>
</cp:coreProperties>
</file>